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66" r:id="rId4"/>
  </p:sldMasterIdLst>
  <p:notesMasterIdLst>
    <p:notesMasterId r:id="rId9"/>
  </p:notesMasterIdLst>
  <p:handoutMasterIdLst>
    <p:handoutMasterId r:id="rId10"/>
  </p:handoutMasterIdLst>
  <p:sldIdLst>
    <p:sldId id="2147478840" r:id="rId5"/>
    <p:sldId id="327" r:id="rId6"/>
    <p:sldId id="2147478841" r:id="rId7"/>
    <p:sldId id="2147478843" r:id="rId8"/>
  </p:sldIdLst>
  <p:sldSz cx="12192000" cy="6858000"/>
  <p:notesSz cx="6858000" cy="9144000"/>
  <p:embeddedFontLst>
    <p:embeddedFont>
      <p:font typeface="DM Sans" pitchFamily="2" charset="0"/>
      <p:regular r:id="rId11"/>
      <p:bold r:id="rId12"/>
      <p:italic r:id="rId13"/>
      <p:boldItalic r:id="rId14"/>
    </p:embeddedFont>
    <p:embeddedFont>
      <p:font typeface="DM Serif Display" pitchFamily="2" charset="0"/>
      <p:regular r:id="rId15"/>
      <p:bold r:id="rId16"/>
      <p:italic r:id="rId17"/>
      <p:boldItalic r:id="rId18"/>
    </p:embeddedFont>
    <p:embeddedFont>
      <p:font typeface="DM Serif Text" pitchFamily="2" charset="0"/>
      <p:regular r:id="rId19"/>
      <p:italic r:id="rId20"/>
    </p:embeddedFont>
  </p:embeddedFontLst>
  <p:custDataLst>
    <p:tags r:id="rId21"/>
  </p:custDataLst>
  <p:defaultTextStyle>
    <a:defPPr>
      <a:defRPr lang="en-US"/>
    </a:defPPr>
    <a:lvl1pPr marL="228600" indent="-2286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Clr>
        <a:schemeClr val="accent1"/>
      </a:buClr>
      <a:buFont typeface="DM Sans" pitchFamily="2" charset="0"/>
      <a:buChar char="•"/>
      <a:defRPr sz="2000" kern="1200">
        <a:solidFill>
          <a:schemeClr val="accent3"/>
        </a:solidFill>
        <a:latin typeface="+mn-lt"/>
        <a:ea typeface="+mn-ea"/>
        <a:cs typeface="+mn-cs"/>
      </a:defRPr>
    </a:lvl1pPr>
    <a:lvl2pPr marL="400050" indent="-17145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Clr>
        <a:schemeClr val="accent1"/>
      </a:buClr>
      <a:buFont typeface="DM Sans" pitchFamily="2" charset="0"/>
      <a:buChar char="•"/>
      <a:defRPr sz="1600" kern="1200">
        <a:solidFill>
          <a:schemeClr val="accent3"/>
        </a:solidFill>
        <a:latin typeface="+mn-lt"/>
        <a:ea typeface="+mn-ea"/>
        <a:cs typeface="+mn-cs"/>
      </a:defRPr>
    </a:lvl2pPr>
    <a:lvl3pPr marL="571500" indent="-17145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Clr>
        <a:schemeClr val="accent1"/>
      </a:buClr>
      <a:buFont typeface="DM Sans" pitchFamily="2" charset="0"/>
      <a:buChar char="•"/>
      <a:defRPr sz="1200" kern="1200">
        <a:solidFill>
          <a:schemeClr val="accent3"/>
        </a:solidFill>
        <a:latin typeface="+mn-lt"/>
        <a:ea typeface="+mn-ea"/>
        <a:cs typeface="+mn-cs"/>
      </a:defRPr>
    </a:lvl3pPr>
    <a:lvl4pPr marL="742950" indent="-17145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Clr>
        <a:schemeClr val="accent1"/>
      </a:buClr>
      <a:buFont typeface="DM Sans" pitchFamily="2" charset="0"/>
      <a:buChar char="•"/>
      <a:defRPr sz="1000" kern="1200">
        <a:solidFill>
          <a:schemeClr val="accent3"/>
        </a:solidFill>
        <a:latin typeface="+mn-lt"/>
        <a:ea typeface="+mn-ea"/>
        <a:cs typeface="+mn-cs"/>
      </a:defRPr>
    </a:lvl4pPr>
    <a:lvl5pPr marL="857250" indent="-17145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Clr>
        <a:schemeClr val="accent1"/>
      </a:buClr>
      <a:buFont typeface="DM Sans" pitchFamily="2" charset="0"/>
      <a:buChar char="•"/>
      <a:defRPr sz="1000" kern="1200">
        <a:solidFill>
          <a:schemeClr val="accent3"/>
        </a:solidFill>
        <a:latin typeface="+mn-lt"/>
        <a:ea typeface="+mn-ea"/>
        <a:cs typeface="+mn-cs"/>
      </a:defRPr>
    </a:lvl5pPr>
    <a:lvl6pPr marL="2514600" indent="-228600" algn="l" defTabSz="914400" rtl="0" eaLnBrk="1" latinLnBrk="0" hangingPunct="1">
      <a:lnSpc>
        <a:spcPct val="90000"/>
      </a:lnSpc>
      <a:spcBef>
        <a:spcPts val="500"/>
      </a:spcBef>
      <a:buFont typeface="DM Sans" pitchFamily="2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971800" indent="-228600" algn="l" defTabSz="914400" rtl="0" eaLnBrk="1" latinLnBrk="0" hangingPunct="1">
      <a:lnSpc>
        <a:spcPct val="90000"/>
      </a:lnSpc>
      <a:spcBef>
        <a:spcPts val="500"/>
      </a:spcBef>
      <a:buFont typeface="DM Sans" pitchFamily="2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429000" indent="-228600" algn="l" defTabSz="914400" rtl="0" eaLnBrk="1" latinLnBrk="0" hangingPunct="1">
      <a:lnSpc>
        <a:spcPct val="90000"/>
      </a:lnSpc>
      <a:spcBef>
        <a:spcPts val="500"/>
      </a:spcBef>
      <a:buFont typeface="DM Sans" pitchFamily="2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886200" indent="-228600" algn="l" defTabSz="914400" rtl="0" eaLnBrk="1" latinLnBrk="0" hangingPunct="1">
      <a:lnSpc>
        <a:spcPct val="90000"/>
      </a:lnSpc>
      <a:spcBef>
        <a:spcPts val="500"/>
      </a:spcBef>
      <a:buFont typeface="DM Sans" pitchFamily="2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467B40C-17CE-85EE-EAC9-7B09F3A4FFE7}" name="Luis Pena Valdes" initials="" userId="S::lupe@softchoice.com::6aee2127-9c1b-4880-9256-0f1ff3fb10ad" providerId="AD"/>
  <p188:author id="{D548F828-0C39-B8F8-4419-A72E929B105A}" name="Carly Chow" initials="CC" userId="S::cach@softchoice.com::69b721c0-293e-4dba-a95f-e6ac1299b8ab" providerId="AD"/>
  <p188:author id="{FC183737-6576-B127-F543-9C2BFBC7A5C9}" name="Ryan Szabo" initials="RS" userId="S::rsza@softchoice.com::05532a80-6489-418e-a850-4ab0c3df2f30" providerId="AD"/>
  <p188:author id="{45C03C40-F72E-02E1-5569-FD3F64791719}" name="Todd Heath" initials="TH" userId="S::theat@softchoice.com::6dc659d1-5703-4e59-b6d3-973eb21130ed" providerId="AD"/>
  <p188:author id="{6F06F140-6468-AE09-6B45-E4E8A8649986}" name="Christine Hannon" initials="CH" userId="S::chan@softchoice.com::86e82ca0-0e37-4d1d-b62f-ed96c1c16299" providerId="AD"/>
  <p188:author id="{7E0FFA41-62D2-5355-C399-923D51CE741C}" name="Nicole Francis" initials="NF" userId="S::nfran@softchoice.com::b3e05638-e9e6-4ca2-a265-eb69474a5e14" providerId="AD"/>
  <p188:author id="{E3025D4C-C511-3524-E227-755565A700E9}" name="Pamela La Rosa" initials="PL" userId="S::pamela.larosa@7thmedia.com::d69ba226-0ed4-4528-8e13-6914067cfee1" providerId="AD"/>
  <p188:author id="{306A0A4E-9AAE-F6A0-ECB6-1226D279496D}" name="Tima Rocha" initials="TR" userId="S::troc@softchoice.com::1ad6532c-073a-4b2c-8ea0-007e77a055f6" providerId="AD"/>
  <p188:author id="{CCFFCD58-B1AD-E289-80D9-8A69884C1A06}" name="Jackie Johnson" initials="JJ" userId="S::jacj@softchoice.com::e1aeca51-e352-429c-a9a4-fc154f98a80a" providerId="AD"/>
  <p188:author id="{F9675196-1D58-FD50-1344-EFAF83F8F26A}" name="Justin Hane" initials="JH" userId="S::jhane@softchoice.com::f94b3124-589d-4f93-b5f4-e2d479363bbb" providerId="AD"/>
  <p188:author id="{80EAC098-8287-4F15-E36F-3B1CAF725017}" name="Sara Onyschuk" initials="SO" userId="S::sony@softchoice.com::71265e77-f31e-4308-b9af-4d2ab576f055" providerId="AD"/>
  <p188:author id="{C69E7A9D-4B9E-CC0A-1323-CB8138C34C65}" name="Ramona Ehlert" initials="RE" userId="S::raeh@softchoice.com::8c8da1c9-c5dd-4069-999d-81a6443ef14e" providerId="AD"/>
  <p188:author id="{D7E54FAD-8F1F-0BC2-076C-7F5E0D2C34F9}" name="Marie Rodgers" initials="MR" userId="S::mrodg@softchoice.com::9ef78c10-ffc5-4fdd-98ec-37b3e7faaa2c" providerId="AD"/>
  <p188:author id="{E64CFBD3-8CC4-D870-3259-6B45A80915A0}" name="Lyla Razvi" initials="LR" userId="S::lrazv@softchoice.com::477cea5f-52d5-4c7a-a157-5f7510519b81" providerId="AD"/>
  <p188:author id="{B99B67D5-ADE3-C75C-98DE-62125652FE0D}" name="Joseph Byer" initials="JB" userId="S::jbye@softchoice.com::1f6c6c27-4fe2-492e-9d9c-2c64c71e82f7" providerId="AD"/>
  <p188:author id="{6C9763DC-0FDE-7849-C590-56A64EB1D238}" name="Esha Parkash" initials="EP" userId="S::ekum@softchoice.com::e5812836-99c5-4028-a11e-20ad6ba9130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100"/>
    <a:srgbClr val="1F2327"/>
    <a:srgbClr val="40454D"/>
    <a:srgbClr val="1C1463"/>
    <a:srgbClr val="CCA175"/>
    <a:srgbClr val="B3B5B8"/>
    <a:srgbClr val="7D00FF"/>
    <a:srgbClr val="4943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D84851-5BF1-4642-90DF-803A479F2BC8}" v="2" dt="2025-06-04T14:44:20.4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BFBFBF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0" cmpd="sng">
              <a:solidFill>
                <a:schemeClr val="lt1"/>
              </a:solidFill>
            </a:ln>
          </a:bottom>
          <a:insideH>
            <a:ln w="0" cmpd="sng">
              <a:solidFill>
                <a:schemeClr val="lt1"/>
              </a:solidFill>
            </a:ln>
          </a:insideH>
          <a:insideV>
            <a:ln w="12700" cmpd="sng">
              <a:solidFill>
                <a:srgbClr val="D9D9D9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</a:tcStyle>
    </a:band1H>
    <a:band2H>
      <a:tcStyle>
        <a:tcBdr/>
        <a:fill>
          <a:solidFill>
            <a:srgbClr val="F2F2F2"/>
          </a:solidFill>
        </a:fill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insideV>
            <a:ln w="12700" cmpd="sng">
              <a:solidFill>
                <a:srgbClr val="FFFFFF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5" d="100"/>
          <a:sy n="95" d="100"/>
        </p:scale>
        <p:origin x="90" y="2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1.fntdata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font" Target="fonts/font5.fntdata"/><Relationship Id="rId23" Type="http://schemas.openxmlformats.org/officeDocument/2006/relationships/viewProps" Target="viewProps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04F7195-E8AE-466E-B566-E5D6AE6979D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>
              <a:latin typeface="DM Sans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14AF85-755D-4E05-9966-774D6131EBA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793A7A-1626-403C-8134-5E43C7F44FB3}" type="datetimeFigureOut">
              <a:rPr lang="en-CA" smtClean="0">
                <a:latin typeface="DM Sans" pitchFamily="2" charset="0"/>
              </a:rPr>
              <a:t>2025-06-04</a:t>
            </a:fld>
            <a:endParaRPr lang="en-CA">
              <a:latin typeface="DM Sans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4DD0E-6C96-495B-B455-2F10583739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>
              <a:latin typeface="DM Sans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44702D-727F-409B-8F3A-DC2C7DB3D06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6246C4-94BE-4480-B9A4-5E21A73FEC3C}" type="slidenum">
              <a:rPr lang="en-CA" smtClean="0">
                <a:latin typeface="DM Sans" pitchFamily="2" charset="0"/>
              </a:rPr>
              <a:t>‹#›</a:t>
            </a:fld>
            <a:endParaRPr lang="en-CA">
              <a:latin typeface="DM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06790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DM Sans" pitchFamily="2" charset="0"/>
              </a:defRPr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DM Sans" pitchFamily="2" charset="0"/>
              </a:defRPr>
            </a:lvl1pPr>
          </a:lstStyle>
          <a:p>
            <a:fld id="{F421196B-0559-42E8-92A5-9194EFE35CC9}" type="datetimeFigureOut">
              <a:rPr lang="en-CA" smtClean="0"/>
              <a:pPr/>
              <a:t>2025-06-04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DM Sans" pitchFamily="2" charset="0"/>
              </a:defRPr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DM Sans" pitchFamily="2" charset="0"/>
              </a:defRPr>
            </a:lvl1pPr>
          </a:lstStyle>
          <a:p>
            <a:fld id="{A4B438BF-AC68-448B-BF2A-76D3241367FA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07821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DM Sans" pitchFamily="2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12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jpeg"/><Relationship Id="rId10" Type="http://schemas.openxmlformats.org/officeDocument/2006/relationships/image" Target="../media/image28.jpeg"/><Relationship Id="rId4" Type="http://schemas.openxmlformats.org/officeDocument/2006/relationships/image" Target="../media/image22.jpeg"/><Relationship Id="rId9" Type="http://schemas.openxmlformats.org/officeDocument/2006/relationships/image" Target="../media/image27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13" Type="http://schemas.openxmlformats.org/officeDocument/2006/relationships/image" Target="../media/image40.jpeg"/><Relationship Id="rId3" Type="http://schemas.openxmlformats.org/officeDocument/2006/relationships/image" Target="../media/image30.jpeg"/><Relationship Id="rId7" Type="http://schemas.openxmlformats.org/officeDocument/2006/relationships/image" Target="../media/image34.jpeg"/><Relationship Id="rId12" Type="http://schemas.openxmlformats.org/officeDocument/2006/relationships/image" Target="../media/image39.jpe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3.jpeg"/><Relationship Id="rId11" Type="http://schemas.openxmlformats.org/officeDocument/2006/relationships/image" Target="../media/image38.jpeg"/><Relationship Id="rId5" Type="http://schemas.openxmlformats.org/officeDocument/2006/relationships/image" Target="../media/image32.jpeg"/><Relationship Id="rId10" Type="http://schemas.openxmlformats.org/officeDocument/2006/relationships/image" Target="../media/image37.jpeg"/><Relationship Id="rId4" Type="http://schemas.openxmlformats.org/officeDocument/2006/relationships/image" Target="../media/image31.jpeg"/><Relationship Id="rId9" Type="http://schemas.openxmlformats.org/officeDocument/2006/relationships/image" Target="../media/image36.jpeg"/><Relationship Id="rId14" Type="http://schemas.openxmlformats.org/officeDocument/2006/relationships/image" Target="../media/image41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54.svg"/><Relationship Id="rId7" Type="http://schemas.openxmlformats.org/officeDocument/2006/relationships/image" Target="../media/image58.jpe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7.jpeg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1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sv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54.svg"/><Relationship Id="rId4" Type="http://schemas.openxmlformats.org/officeDocument/2006/relationships/image" Target="../media/image53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9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0FFCA8-1789-25BD-1D9A-0F2C89E1F03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Date">
            <a:extLst>
              <a:ext uri="{FF2B5EF4-FFF2-40B4-BE49-F238E27FC236}">
                <a16:creationId xmlns:a16="http://schemas.microsoft.com/office/drawing/2014/main" id="{A9733C10-C599-F954-A6C9-343D520D24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6043612"/>
            <a:ext cx="1900238" cy="2286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buFontTx/>
              <a:buNone/>
              <a:defRPr sz="1400">
                <a:solidFill>
                  <a:schemeClr val="accent3"/>
                </a:solidFill>
              </a:defRPr>
            </a:lvl1pPr>
            <a:lvl2pPr>
              <a:buFontTx/>
              <a:buNone/>
              <a:defRPr sz="1200">
                <a:solidFill>
                  <a:schemeClr val="bg1"/>
                </a:solidFill>
              </a:defRPr>
            </a:lvl2pPr>
            <a:lvl3pPr>
              <a:buFontTx/>
              <a:buNone/>
              <a:defRPr sz="1100">
                <a:solidFill>
                  <a:schemeClr val="bg1"/>
                </a:solidFill>
              </a:defRPr>
            </a:lvl3pPr>
            <a:lvl4pPr>
              <a:buFontTx/>
              <a:buNone/>
              <a:defRPr sz="1050">
                <a:solidFill>
                  <a:schemeClr val="bg1"/>
                </a:solidFill>
              </a:defRPr>
            </a:lvl4pPr>
            <a:lvl5pPr>
              <a:buFontTx/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date</a:t>
            </a:r>
            <a:endParaRPr lang="en-CA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4514FF01-6DC0-AC64-9097-B62410560A6C}"/>
              </a:ext>
            </a:extLst>
          </p:cNvPr>
          <p:cNvSpPr/>
          <p:nvPr userDrawn="1"/>
        </p:nvSpPr>
        <p:spPr>
          <a:xfrm>
            <a:off x="4731828" y="44520"/>
            <a:ext cx="7460173" cy="6813481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C6821A8-CF12-CE8C-0F36-332C1F8476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818671"/>
            <a:ext cx="5512490" cy="1631707"/>
          </a:xfrm>
          <a:prstGeom prst="rect">
            <a:avLst/>
          </a:prstGeom>
        </p:spPr>
        <p:txBody>
          <a:bodyPr/>
          <a:lstStyle>
            <a:lvl1pPr>
              <a:defRPr sz="6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title for a cover slid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91BAA15-E77B-B7DC-7060-C8E4095626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45280"/>
            <a:ext cx="5512489" cy="433967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D237F49-DFB4-94C2-AF69-CC24F9A83E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71470" y="377105"/>
            <a:ext cx="2466732" cy="76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87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F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EE2C870-94DF-0BEF-066B-B9F1AD278D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4D67EBB-3C6D-DEB8-8B9C-9CBB68317ADE}"/>
              </a:ext>
            </a:extLst>
          </p:cNvPr>
          <p:cNvSpPr/>
          <p:nvPr userDrawn="1"/>
        </p:nvSpPr>
        <p:spPr>
          <a:xfrm>
            <a:off x="-1" y="0"/>
            <a:ext cx="12192000" cy="6854646"/>
          </a:xfrm>
          <a:prstGeom prst="rect">
            <a:avLst/>
          </a:prstGeom>
          <a:gradFill>
            <a:gsLst>
              <a:gs pos="36000">
                <a:schemeClr val="accent1">
                  <a:lumMod val="5000"/>
                  <a:lumOff val="95000"/>
                  <a:alpha val="0"/>
                </a:schemeClr>
              </a:gs>
              <a:gs pos="99000">
                <a:schemeClr val="tx1">
                  <a:lumMod val="85722"/>
                  <a:lumOff val="14278"/>
                  <a:alpha val="55708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FF11969-6D74-3167-3139-FE146F4CF2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6003855"/>
            <a:ext cx="4929188" cy="196920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00C2C35D-DCC6-A5E3-0374-3304242951F1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C462DF8-0656-547D-AF08-602FCBEE0A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797293"/>
            <a:ext cx="5512490" cy="1631707"/>
          </a:xfrm>
          <a:prstGeom prst="rect">
            <a:avLst/>
          </a:prstGeom>
        </p:spPr>
        <p:txBody>
          <a:bodyPr/>
          <a:lstStyle>
            <a:lvl1pPr>
              <a:defRPr sz="6000" b="0">
                <a:solidFill>
                  <a:schemeClr val="bg1"/>
                </a:solidFill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title for a cover slid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B390CEA-2731-F639-A329-1EEBCD1D878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23902"/>
            <a:ext cx="5512489" cy="433967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5" name="Graphic 3">
            <a:extLst>
              <a:ext uri="{FF2B5EF4-FFF2-40B4-BE49-F238E27FC236}">
                <a16:creationId xmlns:a16="http://schemas.microsoft.com/office/drawing/2014/main" id="{23955402-A694-8449-6878-8625182D8C7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71472" y="379412"/>
            <a:ext cx="2466730" cy="76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69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780AC9A-6293-8185-C9D9-7062A7CF1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FF11969-6D74-3167-3139-FE146F4CF2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6003855"/>
            <a:ext cx="4929188" cy="19692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88D215D8-8564-C8CE-56E6-CA977DEE3F90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818589C-152B-D90B-E3BE-AA4647A37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818671"/>
            <a:ext cx="5512490" cy="1631707"/>
          </a:xfrm>
          <a:prstGeom prst="rect">
            <a:avLst/>
          </a:prstGeom>
        </p:spPr>
        <p:txBody>
          <a:bodyPr/>
          <a:lstStyle>
            <a:lvl1pPr>
              <a:defRPr sz="6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title for a cover slid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16870E0-DC5F-20AA-8363-1D1873341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45280"/>
            <a:ext cx="5512489" cy="433967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2" name="Graphic 3">
            <a:extLst>
              <a:ext uri="{FF2B5EF4-FFF2-40B4-BE49-F238E27FC236}">
                <a16:creationId xmlns:a16="http://schemas.microsoft.com/office/drawing/2014/main" id="{18BA15CE-4AF4-E87E-63A8-4A417731EB4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71470" y="377105"/>
            <a:ext cx="2466732" cy="76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35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5FBB0E0-893C-6D99-E36C-70E614591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191998" cy="6854646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FF11969-6D74-3167-3139-FE146F4CF2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6003855"/>
            <a:ext cx="4929188" cy="196920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081A67DC-671B-DF09-2772-4D16D2BA325E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CA8D734-3F9E-B8B0-D2DB-0EE3BD7DF6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797293"/>
            <a:ext cx="5512490" cy="1631707"/>
          </a:xfrm>
          <a:prstGeom prst="rect">
            <a:avLst/>
          </a:prstGeom>
        </p:spPr>
        <p:txBody>
          <a:bodyPr/>
          <a:lstStyle>
            <a:lvl1pPr>
              <a:defRPr sz="6000" b="0">
                <a:solidFill>
                  <a:schemeClr val="bg1"/>
                </a:solidFill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title for a cover slid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50C5C3BB-803B-0C3B-35D0-4A8C3320CA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23902"/>
            <a:ext cx="5512489" cy="433967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94DA9FF-5C49-FF70-D005-EC372B6C472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71472" y="379412"/>
            <a:ext cx="2466730" cy="76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258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your team_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07460FF-FABA-37C8-B696-ED6C4DA0D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0410" y="4098060"/>
            <a:ext cx="2075980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3383493-2894-D636-2AC3-E311BA5B2D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0410" y="4421331"/>
            <a:ext cx="2075980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4BD762-1517-09CD-589B-94E3299BBD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410" y="4652240"/>
            <a:ext cx="2075980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FEB07EE6-11F8-907D-517B-13ECC0283A9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8264" y="4098060"/>
            <a:ext cx="2075980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E0D1248A-D504-52EB-34F1-BDA2E398EF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8264" y="4421331"/>
            <a:ext cx="2075980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FEEC79BD-7DCB-63FC-E494-D4567D6B753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58264" y="4652240"/>
            <a:ext cx="2075980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F498184-C49C-8880-D763-C34F5C8638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66118" y="4098060"/>
            <a:ext cx="2075980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733614FA-CE8D-27FF-D9C8-20A14AFB1C5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66118" y="4421331"/>
            <a:ext cx="2075980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E80B9DB-0FDD-97F1-D251-8A13D4F3350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66118" y="4652240"/>
            <a:ext cx="2075980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118F297-6B13-0F1D-CCCF-78FF77F2CCE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273972" y="4098060"/>
            <a:ext cx="2075980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1F874023-9D5B-82E8-5CC3-04111E42CB8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273972" y="4421331"/>
            <a:ext cx="2075980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EF690A5E-DC32-A833-0898-9941629A44F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73972" y="4652240"/>
            <a:ext cx="2075980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00CCD73-5688-9822-D910-5C63EE9E7F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368300"/>
            <a:ext cx="7683945" cy="605418"/>
          </a:xfrm>
          <a:prstGeom prst="rect">
            <a:avLst/>
          </a:prstGeom>
        </p:spPr>
        <p:txBody>
          <a:bodyPr/>
          <a:lstStyle>
            <a:lvl1pPr>
              <a:defRPr sz="5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Meet your team</a:t>
            </a:r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21124B5A-976F-5CED-D3AB-450EFAC94AF5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292328" y="2401453"/>
            <a:ext cx="0" cy="248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DB4A0E0D-4CB6-0875-A939-8F19B5D76A3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100183" y="2401453"/>
            <a:ext cx="0" cy="248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90E0F9DC-275D-2455-C574-86371540359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908038" y="2401453"/>
            <a:ext cx="0" cy="248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12" name="Picture Placeholder 14">
            <a:extLst>
              <a:ext uri="{FF2B5EF4-FFF2-40B4-BE49-F238E27FC236}">
                <a16:creationId xmlns:a16="http://schemas.microsoft.com/office/drawing/2014/main" id="{8535F08C-9BE7-1E6D-D83F-30E18EAE7F0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173631" y="2401453"/>
            <a:ext cx="1429542" cy="1429542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303C8195-01A5-0EAA-0953-E18BA9ECD7CE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3981484" y="2401453"/>
            <a:ext cx="1429542" cy="1429542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85220613-7284-61FE-006F-DF0FFB52D83A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780782" y="2401453"/>
            <a:ext cx="1429542" cy="1429542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83086DBE-5E30-6670-3C74-675F8F28851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9585690" y="2401453"/>
            <a:ext cx="1429542" cy="1429542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E50AA6-2DCD-7099-850A-DB4ACF3E8F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0873" y="0"/>
            <a:ext cx="2651702" cy="1271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08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your team_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07460FF-FABA-37C8-B696-ED6C4DA0D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2263" y="2742629"/>
            <a:ext cx="1895967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3383493-2894-D636-2AC3-E311BA5B2D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262" y="3065900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4BD762-1517-09CD-589B-94E3299BBD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261" y="3296809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00CCD73-5688-9822-D910-5C63EE9E7F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368300"/>
            <a:ext cx="7683945" cy="605418"/>
          </a:xfrm>
          <a:prstGeom prst="rect">
            <a:avLst/>
          </a:prstGeom>
        </p:spPr>
        <p:txBody>
          <a:bodyPr/>
          <a:lstStyle>
            <a:lvl1pPr>
              <a:defRPr sz="5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Meet your team</a:t>
            </a:r>
          </a:p>
        </p:txBody>
      </p:sp>
      <p:sp>
        <p:nvSpPr>
          <p:cNvPr id="12" name="Picture Placeholder 14">
            <a:extLst>
              <a:ext uri="{FF2B5EF4-FFF2-40B4-BE49-F238E27FC236}">
                <a16:creationId xmlns:a16="http://schemas.microsoft.com/office/drawing/2014/main" id="{8535F08C-9BE7-1E6D-D83F-30E18EAE7F0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765199" y="1465818"/>
            <a:ext cx="1110094" cy="1110094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D6DD3A04-CE82-D0DA-633E-A65149C33B7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760140" y="2742629"/>
            <a:ext cx="1895967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11B8D104-71AA-CDB5-449C-BCDA6F05133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760140" y="3065900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E4CB0F59-78A0-91C0-065C-9CE3D3A6DD0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760140" y="3296809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CAE2D9FD-B2CE-8F84-6D4C-368D9BE4244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3153075" y="1465818"/>
            <a:ext cx="1110094" cy="1110094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3C23890B-346E-60F3-29FE-79ADC7EEEDB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148017" y="2742629"/>
            <a:ext cx="1895967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85462D9F-1464-7C10-DDEE-06EDDEB3DAF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148017" y="3065900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95D162C2-2CA3-7565-B302-41110317ACA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148876" y="3296809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8C3A9ADE-B6E0-5080-B7A1-205538551F93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5540951" y="1465818"/>
            <a:ext cx="1110094" cy="1110094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293342E5-8F31-0061-E7AB-8B1D844286D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535894" y="2742629"/>
            <a:ext cx="1895967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7DB7A665-9165-FFD1-39BA-8251D25A153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535894" y="3065900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1B440419-2E2D-14CC-0DBE-5E6DE68FB4B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535894" y="3296809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40" name="Picture Placeholder 14">
            <a:extLst>
              <a:ext uri="{FF2B5EF4-FFF2-40B4-BE49-F238E27FC236}">
                <a16:creationId xmlns:a16="http://schemas.microsoft.com/office/drawing/2014/main" id="{DD05F799-31E3-CD14-48C3-18F8B8F4F2DB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7928827" y="1465818"/>
            <a:ext cx="1110094" cy="1110094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9E5523A4-6823-0FBD-E59E-857EE914A7C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923770" y="2742629"/>
            <a:ext cx="1895967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F99147C3-F26B-7C74-BF93-F9914F64DE2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9923770" y="3065900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2A1A7F10-0219-A82D-D045-A92B1B14823A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9923770" y="3296809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44" name="Picture Placeholder 14">
            <a:extLst>
              <a:ext uri="{FF2B5EF4-FFF2-40B4-BE49-F238E27FC236}">
                <a16:creationId xmlns:a16="http://schemas.microsoft.com/office/drawing/2014/main" id="{EA3A1299-6E9A-F32A-4DE5-74D8CE912616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10316706" y="1465818"/>
            <a:ext cx="1110094" cy="1110094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0DAE6058-09F4-FB3B-A75D-305A69D2E30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72263" y="5147899"/>
            <a:ext cx="1895967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70" name="Text Placeholder 5">
            <a:extLst>
              <a:ext uri="{FF2B5EF4-FFF2-40B4-BE49-F238E27FC236}">
                <a16:creationId xmlns:a16="http://schemas.microsoft.com/office/drawing/2014/main" id="{6AAD4AC7-C5DA-6C62-3B7A-6553669E980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72262" y="5471170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59816EE6-0902-2223-AFE4-0B7C7F60F43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72261" y="5702079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75" name="Picture Placeholder 14">
            <a:extLst>
              <a:ext uri="{FF2B5EF4-FFF2-40B4-BE49-F238E27FC236}">
                <a16:creationId xmlns:a16="http://schemas.microsoft.com/office/drawing/2014/main" id="{1A79FB70-4421-48DC-D0E3-5EE042024B72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765199" y="3871088"/>
            <a:ext cx="1110094" cy="1110094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77" name="Text Placeholder 5">
            <a:extLst>
              <a:ext uri="{FF2B5EF4-FFF2-40B4-BE49-F238E27FC236}">
                <a16:creationId xmlns:a16="http://schemas.microsoft.com/office/drawing/2014/main" id="{A32F2C69-F5CE-EF59-47D3-E227A9819CAF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2760140" y="5147899"/>
            <a:ext cx="1895967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6A2EC4FD-E92C-EE66-758B-439F4CD2C063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2760140" y="5471170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5">
            <a:extLst>
              <a:ext uri="{FF2B5EF4-FFF2-40B4-BE49-F238E27FC236}">
                <a16:creationId xmlns:a16="http://schemas.microsoft.com/office/drawing/2014/main" id="{6D64DEE3-B9E8-E772-0FF4-B530C6FB3FA8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2760140" y="5702079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80" name="Picture Placeholder 14">
            <a:extLst>
              <a:ext uri="{FF2B5EF4-FFF2-40B4-BE49-F238E27FC236}">
                <a16:creationId xmlns:a16="http://schemas.microsoft.com/office/drawing/2014/main" id="{F1C9FF4D-4A7E-6D76-BC0B-DBCAB4B7C207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3153076" y="3871088"/>
            <a:ext cx="1110094" cy="1110094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25EA9CA6-C015-8186-1264-446400D1A167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148017" y="5147899"/>
            <a:ext cx="1895967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82" name="Text Placeholder 5">
            <a:extLst>
              <a:ext uri="{FF2B5EF4-FFF2-40B4-BE49-F238E27FC236}">
                <a16:creationId xmlns:a16="http://schemas.microsoft.com/office/drawing/2014/main" id="{CE0CF99B-43B4-D1A0-FA9A-A1245082E4B7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5148017" y="5471170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3" name="Text Placeholder 5">
            <a:extLst>
              <a:ext uri="{FF2B5EF4-FFF2-40B4-BE49-F238E27FC236}">
                <a16:creationId xmlns:a16="http://schemas.microsoft.com/office/drawing/2014/main" id="{4ABB6AF6-71D8-C869-7969-C9CFE426A221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148876" y="5702079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84" name="Picture Placeholder 14">
            <a:extLst>
              <a:ext uri="{FF2B5EF4-FFF2-40B4-BE49-F238E27FC236}">
                <a16:creationId xmlns:a16="http://schemas.microsoft.com/office/drawing/2014/main" id="{564C8708-08F9-29E4-B89B-91B1F351C5C6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5540953" y="3871088"/>
            <a:ext cx="1110094" cy="1110094"/>
          </a:xfrm>
          <a:prstGeom prst="rect">
            <a:avLst/>
          </a:prstGeo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85" name="Text Placeholder 5">
            <a:extLst>
              <a:ext uri="{FF2B5EF4-FFF2-40B4-BE49-F238E27FC236}">
                <a16:creationId xmlns:a16="http://schemas.microsoft.com/office/drawing/2014/main" id="{D0A56959-7955-25D8-00CB-725730E97915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7535894" y="5147899"/>
            <a:ext cx="1895967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86" name="Text Placeholder 5">
            <a:extLst>
              <a:ext uri="{FF2B5EF4-FFF2-40B4-BE49-F238E27FC236}">
                <a16:creationId xmlns:a16="http://schemas.microsoft.com/office/drawing/2014/main" id="{3045DA88-4896-E01C-4123-478784F3CAF1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7535894" y="5471170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7" name="Text Placeholder 5">
            <a:extLst>
              <a:ext uri="{FF2B5EF4-FFF2-40B4-BE49-F238E27FC236}">
                <a16:creationId xmlns:a16="http://schemas.microsoft.com/office/drawing/2014/main" id="{676C965D-1F86-55F8-3EFC-57FA18F204A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535894" y="5702079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88" name="Picture Placeholder 14">
            <a:extLst>
              <a:ext uri="{FF2B5EF4-FFF2-40B4-BE49-F238E27FC236}">
                <a16:creationId xmlns:a16="http://schemas.microsoft.com/office/drawing/2014/main" id="{ED1F57ED-9FA5-922F-76FC-A400098A3F00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7928830" y="3871088"/>
            <a:ext cx="1110094" cy="1110094"/>
          </a:xfrm>
          <a:prstGeom prst="rect">
            <a:avLst/>
          </a:prstGeom>
          <a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89" name="Text Placeholder 5">
            <a:extLst>
              <a:ext uri="{FF2B5EF4-FFF2-40B4-BE49-F238E27FC236}">
                <a16:creationId xmlns:a16="http://schemas.microsoft.com/office/drawing/2014/main" id="{3C4C825A-2D8A-4FB6-538E-BE5A05FF57BB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9923770" y="5147899"/>
            <a:ext cx="1895967" cy="244615"/>
          </a:xfrm>
          <a:prstGeom prst="rect">
            <a:avLst/>
          </a:prstGeom>
        </p:spPr>
        <p:txBody>
          <a:bodyPr/>
          <a:lstStyle>
            <a:lvl1pPr algn="ctr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90" name="Text Placeholder 5">
            <a:extLst>
              <a:ext uri="{FF2B5EF4-FFF2-40B4-BE49-F238E27FC236}">
                <a16:creationId xmlns:a16="http://schemas.microsoft.com/office/drawing/2014/main" id="{6F5CFD6C-3AC9-C85D-96E2-EF50CBD90D1D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9923770" y="5471170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A13402C1-70C3-7DCA-7BDD-B759FE0405E2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9923770" y="5702079"/>
            <a:ext cx="1895967" cy="148071"/>
          </a:xfrm>
          <a:prstGeom prst="rect">
            <a:avLst/>
          </a:prstGeom>
        </p:spPr>
        <p:txBody>
          <a:bodyPr lIns="0"/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92" name="Picture Placeholder 14">
            <a:extLst>
              <a:ext uri="{FF2B5EF4-FFF2-40B4-BE49-F238E27FC236}">
                <a16:creationId xmlns:a16="http://schemas.microsoft.com/office/drawing/2014/main" id="{9CDFA6F4-DD41-5177-E913-88AEF250D0C0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10316706" y="3871088"/>
            <a:ext cx="1110094" cy="1110094"/>
          </a:xfrm>
          <a:prstGeom prst="rect">
            <a:avLst/>
          </a:prstGeo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20CD61F4-CE82-B22F-3E32-F1B3F678E5B5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 rot="5400000">
            <a:off x="1506184" y="2473818"/>
            <a:ext cx="2015999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86C9AC4D-ABBC-90DA-315B-06F89DB016C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 rot="5400000">
            <a:off x="3894060" y="2473819"/>
            <a:ext cx="2015999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98" name="Text Placeholder 7">
            <a:extLst>
              <a:ext uri="{FF2B5EF4-FFF2-40B4-BE49-F238E27FC236}">
                <a16:creationId xmlns:a16="http://schemas.microsoft.com/office/drawing/2014/main" id="{EB8DF1F9-BB1E-23D1-472E-FF3B04E8F11F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 rot="5400000">
            <a:off x="6281936" y="2473820"/>
            <a:ext cx="2015999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00" name="Text Placeholder 7">
            <a:extLst>
              <a:ext uri="{FF2B5EF4-FFF2-40B4-BE49-F238E27FC236}">
                <a16:creationId xmlns:a16="http://schemas.microsoft.com/office/drawing/2014/main" id="{F190FD26-D69A-A614-E5B2-77303B35AE62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 rot="5400000">
            <a:off x="8669812" y="2473821"/>
            <a:ext cx="2015999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05" name="Text Placeholder 7">
            <a:extLst>
              <a:ext uri="{FF2B5EF4-FFF2-40B4-BE49-F238E27FC236}">
                <a16:creationId xmlns:a16="http://schemas.microsoft.com/office/drawing/2014/main" id="{ED97050E-652F-8E6C-BE3C-878B75C2F764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 rot="5400000">
            <a:off x="1506184" y="4889027"/>
            <a:ext cx="2015999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06" name="Text Placeholder 7">
            <a:extLst>
              <a:ext uri="{FF2B5EF4-FFF2-40B4-BE49-F238E27FC236}">
                <a16:creationId xmlns:a16="http://schemas.microsoft.com/office/drawing/2014/main" id="{06FB4ECA-8F93-BC74-C6C2-B6550F10F2E5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 rot="5400000">
            <a:off x="3894060" y="4889028"/>
            <a:ext cx="2015999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07" name="Text Placeholder 7">
            <a:extLst>
              <a:ext uri="{FF2B5EF4-FFF2-40B4-BE49-F238E27FC236}">
                <a16:creationId xmlns:a16="http://schemas.microsoft.com/office/drawing/2014/main" id="{ADF8574A-FF5A-5A22-7696-A6B73964033D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 rot="5400000">
            <a:off x="6281936" y="4889029"/>
            <a:ext cx="2015999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08" name="Text Placeholder 7">
            <a:extLst>
              <a:ext uri="{FF2B5EF4-FFF2-40B4-BE49-F238E27FC236}">
                <a16:creationId xmlns:a16="http://schemas.microsoft.com/office/drawing/2014/main" id="{A2AA3B38-8E6B-C867-197E-6ACB487976E7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 rot="5400000">
            <a:off x="8669812" y="4889030"/>
            <a:ext cx="2015999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B1D8169-562A-D7B1-CCF5-F3A68FB72CA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0873" y="0"/>
            <a:ext cx="2651702" cy="1271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2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your team_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07460FF-FABA-37C8-B696-ED6C4DA0D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69885" y="2257537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3383493-2894-D636-2AC3-E311BA5B2D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69885" y="2580808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4BD762-1517-09CD-589B-94E3299BBD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69885" y="2811717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25586B2-4AD3-E1D0-F8AC-7EA1611258C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069885" y="4227013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B413EEF8-C5DE-C1AE-3193-EF00A92FC9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069885" y="4550284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80625D-6FFE-815B-0F82-68FE18A878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069885" y="4781193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B4DD168-747E-BF4B-3B72-A8B51EF1C87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89096" y="2257537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4D3DCCE-D272-A199-440C-6E024C8899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89096" y="2580808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48357B1F-E624-11C2-649F-1AC0F9433C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89096" y="2811717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7001B57-6132-58E4-4415-B1C7B7BF0AD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89096" y="4227013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F1C755AE-2A12-0948-B70C-BE2EAE2DE9D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289096" y="4550284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8CD80720-E4A4-4FB4-128D-5537BBE52A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89096" y="4781193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4472079-9760-B1B8-9EAD-A65F04BAA3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368300"/>
            <a:ext cx="7683945" cy="605418"/>
          </a:xfrm>
          <a:prstGeom prst="rect">
            <a:avLst/>
          </a:prstGeom>
        </p:spPr>
        <p:txBody>
          <a:bodyPr/>
          <a:lstStyle>
            <a:lvl1pPr>
              <a:defRPr sz="5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Meet your team</a:t>
            </a:r>
          </a:p>
        </p:txBody>
      </p:sp>
      <p:sp>
        <p:nvSpPr>
          <p:cNvPr id="30" name="Picture Placeholder 14">
            <a:extLst>
              <a:ext uri="{FF2B5EF4-FFF2-40B4-BE49-F238E27FC236}">
                <a16:creationId xmlns:a16="http://schemas.microsoft.com/office/drawing/2014/main" id="{93159B1A-7AEC-F495-5641-597E70207A3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71475" y="1883909"/>
            <a:ext cx="1429542" cy="1429542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1" name="Picture Placeholder 14">
            <a:extLst>
              <a:ext uri="{FF2B5EF4-FFF2-40B4-BE49-F238E27FC236}">
                <a16:creationId xmlns:a16="http://schemas.microsoft.com/office/drawing/2014/main" id="{64AEB287-B407-D59A-4701-7C25736CB227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71474" y="3835513"/>
            <a:ext cx="1429542" cy="1429542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A514F2B5-65AF-E8A1-F195-A38D77292F8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597130" y="1883909"/>
            <a:ext cx="1429542" cy="1429542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3" name="Picture Placeholder 14">
            <a:extLst>
              <a:ext uri="{FF2B5EF4-FFF2-40B4-BE49-F238E27FC236}">
                <a16:creationId xmlns:a16="http://schemas.microsoft.com/office/drawing/2014/main" id="{A061AF40-AC28-41C6-F995-16709EBA3F71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5597130" y="3835513"/>
            <a:ext cx="1429542" cy="1429542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751DB02-3107-9F23-5B50-E9112F9287F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0873" y="0"/>
            <a:ext cx="2651702" cy="1271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186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your team_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07460FF-FABA-37C8-B696-ED6C4DA0D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95554" y="1719442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3383493-2894-D636-2AC3-E311BA5B2D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95554" y="2042713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4BD762-1517-09CD-589B-94E3299BBD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95554" y="2273622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A8E9623-AD45-8AB6-14FA-A393BAA0DF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0873" y="0"/>
            <a:ext cx="2651702" cy="127149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4472079-9760-B1B8-9EAD-A65F04BAA3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368300"/>
            <a:ext cx="7683945" cy="605418"/>
          </a:xfrm>
          <a:prstGeom prst="rect">
            <a:avLst/>
          </a:prstGeom>
        </p:spPr>
        <p:txBody>
          <a:bodyPr/>
          <a:lstStyle>
            <a:lvl1pPr>
              <a:defRPr sz="5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Meet your team</a:t>
            </a:r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46A4D738-9406-954D-DFDC-989D4A9DDFB2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371475" y="1618260"/>
            <a:ext cx="892176" cy="892176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B6D27A9-FC0F-9118-BF97-507128DAB02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620293" y="1719442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093BC24F-B0C7-0CA5-BE88-A8D1F525789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620293" y="2042713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B590027-E6E3-6384-3607-7E2AE7B7017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620293" y="2273622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9327FFA6-A6C7-50E7-8D5C-70B53DD394A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496214" y="1618260"/>
            <a:ext cx="892176" cy="892176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C729341-30F4-19DD-BA53-CC59D931532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745032" y="1719442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08328F8E-6380-5CBA-5F88-946382D58D8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745032" y="2042713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70A5969-C1F4-7215-8104-3EF488D33DF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745032" y="2273622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F03C69C7-73B5-546F-80CE-D28030F64C4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620953" y="1618260"/>
            <a:ext cx="892176" cy="892176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721"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AACDD46F-B928-3DC5-CD32-E2DB8BAB481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495554" y="2882320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AD743BF8-99B9-1DC4-031E-F2747F17D07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495554" y="3205591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A7BA58A7-54BE-CE7E-9B6B-37FB873EA6C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495554" y="3436500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62" name="Picture Placeholder 14">
            <a:extLst>
              <a:ext uri="{FF2B5EF4-FFF2-40B4-BE49-F238E27FC236}">
                <a16:creationId xmlns:a16="http://schemas.microsoft.com/office/drawing/2014/main" id="{E7B33D5F-AD48-F864-5298-2B9029E69215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71475" y="2781138"/>
            <a:ext cx="892176" cy="892176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BFBB3E1F-C760-9FA3-D00F-D705388FDF9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620293" y="2882320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0A7E208A-82E8-5802-A4E2-1B1DB2923F3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620293" y="3205591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441324FE-7131-2D54-C660-915CDD43EF8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620293" y="3436500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66" name="Picture Placeholder 14">
            <a:extLst>
              <a:ext uri="{FF2B5EF4-FFF2-40B4-BE49-F238E27FC236}">
                <a16:creationId xmlns:a16="http://schemas.microsoft.com/office/drawing/2014/main" id="{1FE734CC-63B7-D821-ED6D-CAC723566C12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4496214" y="2781138"/>
            <a:ext cx="892176" cy="892176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BD886917-8818-D9F6-EA3A-81FDB3342CE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745032" y="2882320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68" name="Text Placeholder 5">
            <a:extLst>
              <a:ext uri="{FF2B5EF4-FFF2-40B4-BE49-F238E27FC236}">
                <a16:creationId xmlns:a16="http://schemas.microsoft.com/office/drawing/2014/main" id="{6A7A16F7-2CB4-5761-A4C1-C0F277899F0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745032" y="3205591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A696FF19-6FD6-272C-43AB-35BB86E7C35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745032" y="3436500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70" name="Picture Placeholder 14">
            <a:extLst>
              <a:ext uri="{FF2B5EF4-FFF2-40B4-BE49-F238E27FC236}">
                <a16:creationId xmlns:a16="http://schemas.microsoft.com/office/drawing/2014/main" id="{67F0FF9F-B12F-4454-974D-B4F14CD6840C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8620953" y="2781138"/>
            <a:ext cx="892176" cy="892176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5151B562-7243-9BAE-81DB-E3713C3266A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495554" y="4045198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15A3C93C-F244-D60B-77BA-65923D92291D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495554" y="4368469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458FA739-9295-3EDA-2E49-17C5F95692C1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495554" y="4599378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74" name="Picture Placeholder 14">
            <a:extLst>
              <a:ext uri="{FF2B5EF4-FFF2-40B4-BE49-F238E27FC236}">
                <a16:creationId xmlns:a16="http://schemas.microsoft.com/office/drawing/2014/main" id="{0709F068-21A4-5BEB-BFED-C31366751A55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371475" y="3944016"/>
            <a:ext cx="892176" cy="892176"/>
          </a:xfrm>
          <a:prstGeom prst="rect">
            <a:avLst/>
          </a:prstGeo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A35633ED-BA25-A89E-9EA1-FC23769C212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620293" y="4045198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AC773B7A-035F-F3D4-96C7-413741D1652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620293" y="4368469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5">
            <a:extLst>
              <a:ext uri="{FF2B5EF4-FFF2-40B4-BE49-F238E27FC236}">
                <a16:creationId xmlns:a16="http://schemas.microsoft.com/office/drawing/2014/main" id="{6C60A4DF-87F5-C14A-F521-4968B76ADADA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620293" y="4599378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78" name="Picture Placeholder 14">
            <a:extLst>
              <a:ext uri="{FF2B5EF4-FFF2-40B4-BE49-F238E27FC236}">
                <a16:creationId xmlns:a16="http://schemas.microsoft.com/office/drawing/2014/main" id="{27B87EB0-D7A8-DAA4-D01F-189F4DE467B2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4496214" y="3944016"/>
            <a:ext cx="892176" cy="892176"/>
          </a:xfrm>
          <a:prstGeom prst="rect">
            <a:avLst/>
          </a:prstGeom>
          <a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79" name="Text Placeholder 5">
            <a:extLst>
              <a:ext uri="{FF2B5EF4-FFF2-40B4-BE49-F238E27FC236}">
                <a16:creationId xmlns:a16="http://schemas.microsoft.com/office/drawing/2014/main" id="{1E680200-E05D-FB11-6DA2-5B1A0BEC93B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745032" y="4045198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80" name="Text Placeholder 5">
            <a:extLst>
              <a:ext uri="{FF2B5EF4-FFF2-40B4-BE49-F238E27FC236}">
                <a16:creationId xmlns:a16="http://schemas.microsoft.com/office/drawing/2014/main" id="{A1AADFA1-B9A8-37D2-C0A6-81D5922260FD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745032" y="4368469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4F9A7035-0F1C-5DC7-B309-826DC905E0D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9745032" y="4599378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82" name="Picture Placeholder 14">
            <a:extLst>
              <a:ext uri="{FF2B5EF4-FFF2-40B4-BE49-F238E27FC236}">
                <a16:creationId xmlns:a16="http://schemas.microsoft.com/office/drawing/2014/main" id="{8B3366B6-5810-2E6D-4610-657D1F791ACD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8620953" y="3944016"/>
            <a:ext cx="892176" cy="892176"/>
          </a:xfrm>
          <a:prstGeom prst="rect">
            <a:avLst/>
          </a:prstGeo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a photo</a:t>
            </a:r>
          </a:p>
        </p:txBody>
      </p:sp>
      <p:sp>
        <p:nvSpPr>
          <p:cNvPr id="83" name="Text Placeholder 5">
            <a:extLst>
              <a:ext uri="{FF2B5EF4-FFF2-40B4-BE49-F238E27FC236}">
                <a16:creationId xmlns:a16="http://schemas.microsoft.com/office/drawing/2014/main" id="{8B09F730-2DDA-7CDC-6800-53B18904335A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495554" y="5208076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84" name="Text Placeholder 5">
            <a:extLst>
              <a:ext uri="{FF2B5EF4-FFF2-40B4-BE49-F238E27FC236}">
                <a16:creationId xmlns:a16="http://schemas.microsoft.com/office/drawing/2014/main" id="{B7B613E9-A570-69D2-4853-F81519DF1243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495554" y="5531347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5" name="Text Placeholder 5">
            <a:extLst>
              <a:ext uri="{FF2B5EF4-FFF2-40B4-BE49-F238E27FC236}">
                <a16:creationId xmlns:a16="http://schemas.microsoft.com/office/drawing/2014/main" id="{228840F3-5B8F-7D16-D158-7BA560E6AB45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495554" y="5762256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86" name="Picture Placeholder 14">
            <a:extLst>
              <a:ext uri="{FF2B5EF4-FFF2-40B4-BE49-F238E27FC236}">
                <a16:creationId xmlns:a16="http://schemas.microsoft.com/office/drawing/2014/main" id="{4762232F-6CAF-2AD1-3577-B0A860682E8D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371475" y="5106894"/>
            <a:ext cx="892176" cy="892176"/>
          </a:xfrm>
          <a:prstGeom prst="rect">
            <a:avLst/>
          </a:prstGeom>
          <a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87" name="Text Placeholder 5">
            <a:extLst>
              <a:ext uri="{FF2B5EF4-FFF2-40B4-BE49-F238E27FC236}">
                <a16:creationId xmlns:a16="http://schemas.microsoft.com/office/drawing/2014/main" id="{99A9FA31-4645-1F99-DC06-86F9F0628511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620293" y="5208076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88" name="Text Placeholder 5">
            <a:extLst>
              <a:ext uri="{FF2B5EF4-FFF2-40B4-BE49-F238E27FC236}">
                <a16:creationId xmlns:a16="http://schemas.microsoft.com/office/drawing/2014/main" id="{49224027-227C-456E-8FD0-1517B567358A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620293" y="5531347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9" name="Text Placeholder 5">
            <a:extLst>
              <a:ext uri="{FF2B5EF4-FFF2-40B4-BE49-F238E27FC236}">
                <a16:creationId xmlns:a16="http://schemas.microsoft.com/office/drawing/2014/main" id="{7C1D3FAB-FEA1-D3B8-3510-5C0F579A3B9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620293" y="5762256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90" name="Picture Placeholder 14">
            <a:extLst>
              <a:ext uri="{FF2B5EF4-FFF2-40B4-BE49-F238E27FC236}">
                <a16:creationId xmlns:a16="http://schemas.microsoft.com/office/drawing/2014/main" id="{67049F1A-BBDD-C968-2EDE-33726F194227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4496214" y="5106894"/>
            <a:ext cx="892176" cy="892176"/>
          </a:xfrm>
          <a:prstGeom prst="rect">
            <a:avLst/>
          </a:prstGeom>
          <a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BBAAD1C4-80C7-8E9D-5E53-465BE95F8B8D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9745032" y="5208076"/>
            <a:ext cx="2075980" cy="244615"/>
          </a:xfrm>
          <a:prstGeom prst="rect">
            <a:avLst/>
          </a:prstGeom>
        </p:spPr>
        <p:txBody>
          <a:bodyPr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92" name="Text Placeholder 5">
            <a:extLst>
              <a:ext uri="{FF2B5EF4-FFF2-40B4-BE49-F238E27FC236}">
                <a16:creationId xmlns:a16="http://schemas.microsoft.com/office/drawing/2014/main" id="{4B549ADD-B511-87A2-0E5E-96D3BCCD6A24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9745032" y="5531347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3" name="Text Placeholder 5">
            <a:extLst>
              <a:ext uri="{FF2B5EF4-FFF2-40B4-BE49-F238E27FC236}">
                <a16:creationId xmlns:a16="http://schemas.microsoft.com/office/drawing/2014/main" id="{50ED233C-D6F6-6327-5041-0796E7B62B33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9745032" y="5762256"/>
            <a:ext cx="2075980" cy="148071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rganization</a:t>
            </a:r>
          </a:p>
        </p:txBody>
      </p:sp>
      <p:sp>
        <p:nvSpPr>
          <p:cNvPr id="94" name="Picture Placeholder 14">
            <a:extLst>
              <a:ext uri="{FF2B5EF4-FFF2-40B4-BE49-F238E27FC236}">
                <a16:creationId xmlns:a16="http://schemas.microsoft.com/office/drawing/2014/main" id="{99B8F23E-BD67-526C-B5A5-E3A6668E57E0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8620953" y="5106894"/>
            <a:ext cx="892176" cy="892176"/>
          </a:xfrm>
          <a:prstGeom prst="rect">
            <a:avLst/>
          </a:prstGeom>
          <a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a photo</a:t>
            </a:r>
          </a:p>
        </p:txBody>
      </p:sp>
    </p:spTree>
    <p:extLst>
      <p:ext uri="{BB962C8B-B14F-4D97-AF65-F5344CB8AC3E}">
        <p14:creationId xmlns:p14="http://schemas.microsoft.com/office/powerpoint/2010/main" val="392535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oC - Number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AEC5E-BD64-4FC9-B1DF-F16FA1F4FB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5657"/>
            <a:ext cx="11233150" cy="605418"/>
          </a:xfrm>
          <a:prstGeom prst="rect">
            <a:avLst/>
          </a:prstGeom>
        </p:spPr>
        <p:txBody>
          <a:bodyPr/>
          <a:lstStyle>
            <a:lvl1pPr>
              <a:defRPr sz="5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Agenda or table of content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7B2010D-BCB6-8B87-4852-302F1FDCDB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1978" y="1612900"/>
            <a:ext cx="6980238" cy="4264025"/>
          </a:xfrm>
        </p:spPr>
        <p:txBody>
          <a:bodyPr/>
          <a:lstStyle>
            <a:lvl1pPr marL="457200" indent="-457200">
              <a:buClr>
                <a:schemeClr val="accent3"/>
              </a:buClr>
              <a:buFont typeface="+mj-lt"/>
              <a:buAutoNum type="arabicPeriod"/>
              <a:defRPr/>
            </a:lvl1pPr>
            <a:lvl2pPr marL="854075" indent="-338138"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/>
            </a:lvl2pPr>
            <a:lvl3pPr marL="1246188" indent="-336550"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/>
            </a:lvl3pPr>
            <a:lvl4pPr marL="1562100" indent="-280988"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/>
            </a:lvl4pPr>
            <a:lvl5pPr marL="1830388" indent="-280988"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078F76C8-46FC-13EB-1F31-15C03DEF1FA6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3309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oC -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AEC5E-BD64-4FC9-B1DF-F16FA1F4FB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5657"/>
            <a:ext cx="11233150" cy="605418"/>
          </a:xfrm>
          <a:prstGeom prst="rect">
            <a:avLst/>
          </a:prstGeom>
        </p:spPr>
        <p:txBody>
          <a:bodyPr/>
          <a:lstStyle>
            <a:lvl1pPr>
              <a:defRPr sz="5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Agenda or table of conten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9D500EC-BDC9-D3DD-7589-0BAD2C1240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5" y="1612900"/>
            <a:ext cx="6980741" cy="4264025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accent3"/>
              </a:buCl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B0282C6C-7F83-706A-0F75-6267D4B51AC3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1227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oC - Icon lis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AEC5E-BD64-4FC9-B1DF-F16FA1F4FB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5685"/>
            <a:ext cx="11233150" cy="605418"/>
          </a:xfrm>
          <a:prstGeom prst="rect">
            <a:avLst/>
          </a:prstGeom>
        </p:spPr>
        <p:txBody>
          <a:bodyPr/>
          <a:lstStyle>
            <a:lvl1pPr>
              <a:defRPr sz="5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Agenda or table of conten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9D500EC-BDC9-D3DD-7589-0BAD2C1240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68821" y="1641158"/>
            <a:ext cx="6584078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E02380D-009F-441F-3C68-EE22147C33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68822" y="2391093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FAABF6C-1CA1-CC6C-791C-3B6FCA8A2F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68822" y="3141028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8A89769-471C-B9B4-3B11-AA9627A6767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68822" y="3890963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0708AFA-00D2-E6C2-4E6F-628DF006471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68822" y="4640898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532BB24-0268-50C5-4363-154E103F601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268822" y="5390833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307E376-0B8A-DD79-38B0-06D576E8F8B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268821" y="2211821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266C7E9-1D4B-A1C9-CA0B-926C27C6D37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268821" y="2961756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6BBE32A-B6D0-28DD-0D08-5A5F737853A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268821" y="3711691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4DAD8F7-0EF7-9147-D597-A4788CF41AE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268821" y="4461626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1EE9CD8-7F76-65CB-BF98-93339ADB599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268821" y="5211561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30" name="Picture Placeholder 14">
            <a:extLst>
              <a:ext uri="{FF2B5EF4-FFF2-40B4-BE49-F238E27FC236}">
                <a16:creationId xmlns:a16="http://schemas.microsoft.com/office/drawing/2014/main" id="{E127DE34-5636-7F68-40AC-A07857FF7F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1475" y="1549400"/>
            <a:ext cx="574906" cy="574906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31" name="Picture Placeholder 14">
            <a:extLst>
              <a:ext uri="{FF2B5EF4-FFF2-40B4-BE49-F238E27FC236}">
                <a16:creationId xmlns:a16="http://schemas.microsoft.com/office/drawing/2014/main" id="{BAA1657F-06EE-334C-4FD3-F862EEDCF0ED}"/>
              </a:ext>
            </a:extLst>
          </p:cNvPr>
          <p:cNvSpPr>
            <a:spLocks noGrp="1"/>
          </p:cNvSpPr>
          <p:nvPr>
            <p:ph type="pic" sz="quarter" idx="111" hasCustomPrompt="1"/>
          </p:nvPr>
        </p:nvSpPr>
        <p:spPr>
          <a:xfrm>
            <a:off x="371475" y="1549400"/>
            <a:ext cx="574906" cy="57490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32" name="Picture Placeholder 14">
            <a:extLst>
              <a:ext uri="{FF2B5EF4-FFF2-40B4-BE49-F238E27FC236}">
                <a16:creationId xmlns:a16="http://schemas.microsoft.com/office/drawing/2014/main" id="{DC5071DD-FB65-51E8-AEAC-FA2A697F569C}"/>
              </a:ext>
            </a:extLst>
          </p:cNvPr>
          <p:cNvSpPr>
            <a:spLocks noGrp="1"/>
          </p:cNvSpPr>
          <p:nvPr>
            <p:ph type="pic" sz="quarter" idx="112" hasCustomPrompt="1"/>
          </p:nvPr>
        </p:nvSpPr>
        <p:spPr>
          <a:xfrm>
            <a:off x="371475" y="2299335"/>
            <a:ext cx="574906" cy="57490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33" name="Picture Placeholder 14">
            <a:extLst>
              <a:ext uri="{FF2B5EF4-FFF2-40B4-BE49-F238E27FC236}">
                <a16:creationId xmlns:a16="http://schemas.microsoft.com/office/drawing/2014/main" id="{3D519D85-AE6C-ADA6-5319-2D2BC216E10C}"/>
              </a:ext>
            </a:extLst>
          </p:cNvPr>
          <p:cNvSpPr>
            <a:spLocks noGrp="1"/>
          </p:cNvSpPr>
          <p:nvPr>
            <p:ph type="pic" sz="quarter" idx="113" hasCustomPrompt="1"/>
          </p:nvPr>
        </p:nvSpPr>
        <p:spPr>
          <a:xfrm>
            <a:off x="371475" y="3049270"/>
            <a:ext cx="574906" cy="57490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34" name="Picture Placeholder 14">
            <a:extLst>
              <a:ext uri="{FF2B5EF4-FFF2-40B4-BE49-F238E27FC236}">
                <a16:creationId xmlns:a16="http://schemas.microsoft.com/office/drawing/2014/main" id="{B76770C9-3AE3-5238-907C-5D9AD34C5B37}"/>
              </a:ext>
            </a:extLst>
          </p:cNvPr>
          <p:cNvSpPr>
            <a:spLocks noGrp="1"/>
          </p:cNvSpPr>
          <p:nvPr>
            <p:ph type="pic" sz="quarter" idx="114" hasCustomPrompt="1"/>
          </p:nvPr>
        </p:nvSpPr>
        <p:spPr>
          <a:xfrm>
            <a:off x="371475" y="3799205"/>
            <a:ext cx="574906" cy="57490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35" name="Picture Placeholder 14">
            <a:extLst>
              <a:ext uri="{FF2B5EF4-FFF2-40B4-BE49-F238E27FC236}">
                <a16:creationId xmlns:a16="http://schemas.microsoft.com/office/drawing/2014/main" id="{2F3BC5E9-CE1A-C187-9F69-D060249E9C42}"/>
              </a:ext>
            </a:extLst>
          </p:cNvPr>
          <p:cNvSpPr>
            <a:spLocks noGrp="1"/>
          </p:cNvSpPr>
          <p:nvPr>
            <p:ph type="pic" sz="quarter" idx="115" hasCustomPrompt="1"/>
          </p:nvPr>
        </p:nvSpPr>
        <p:spPr>
          <a:xfrm>
            <a:off x="371475" y="4549140"/>
            <a:ext cx="574906" cy="57490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36" name="Picture Placeholder 14">
            <a:extLst>
              <a:ext uri="{FF2B5EF4-FFF2-40B4-BE49-F238E27FC236}">
                <a16:creationId xmlns:a16="http://schemas.microsoft.com/office/drawing/2014/main" id="{7886F6C4-715F-467C-B410-02640CF94C36}"/>
              </a:ext>
            </a:extLst>
          </p:cNvPr>
          <p:cNvSpPr>
            <a:spLocks noGrp="1"/>
          </p:cNvSpPr>
          <p:nvPr>
            <p:ph type="pic" sz="quarter" idx="116" hasCustomPrompt="1"/>
          </p:nvPr>
        </p:nvSpPr>
        <p:spPr>
          <a:xfrm>
            <a:off x="371475" y="5299075"/>
            <a:ext cx="574906" cy="57490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9471181E-FC23-31B6-1DBB-B1D123C9AF97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38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9DE3D3E-373C-46F5-654F-C89726067C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630" t="1163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8AEC5E-BD64-4FC9-B1DF-F16FA1F4FB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818671"/>
            <a:ext cx="5512490" cy="1631707"/>
          </a:xfrm>
          <a:prstGeom prst="rect">
            <a:avLst/>
          </a:prstGeom>
        </p:spPr>
        <p:txBody>
          <a:bodyPr/>
          <a:lstStyle>
            <a:lvl1pPr>
              <a:defRPr sz="6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title for a cover slid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A2B10B3-02FF-795B-47E4-71042E8724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45280"/>
            <a:ext cx="5512489" cy="433967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FF11969-6D74-3167-3139-FE146F4CF2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6003855"/>
            <a:ext cx="4929188" cy="19692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24DE36AF-4D98-331B-B87B-6057E16ACDF0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5" name="Graphic 3">
            <a:extLst>
              <a:ext uri="{FF2B5EF4-FFF2-40B4-BE49-F238E27FC236}">
                <a16:creationId xmlns:a16="http://schemas.microsoft.com/office/drawing/2014/main" id="{D8C3EF20-7203-811B-20D2-099524D3D9B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71470" y="377105"/>
            <a:ext cx="2466732" cy="76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400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oC - Icon lis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AEC5E-BD64-4FC9-B1DF-F16FA1F4FB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5685"/>
            <a:ext cx="11233150" cy="605418"/>
          </a:xfrm>
          <a:prstGeom prst="rect">
            <a:avLst/>
          </a:prstGeom>
        </p:spPr>
        <p:txBody>
          <a:bodyPr/>
          <a:lstStyle>
            <a:lvl1pPr>
              <a:defRPr sz="5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Agenda or table of conten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9D500EC-BDC9-D3DD-7589-0BAD2C1240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0404" y="1249768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6FB0BDFF-FB12-A6FD-E97A-8A11F964DFC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0404" y="1819247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DAD9184D-1E93-B8A1-A1BD-17723FBC75B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10404" y="2388725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0B4AA743-2AB4-F921-4A88-44D1FA94726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010404" y="2958203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F24BB26-5088-1910-0363-0A96CE1250E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010404" y="3527681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D921B86B-4532-D144-5022-6EB5EFD4E5D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404" y="4097160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B5AB5A20-EF4B-314F-DA6C-334C34DA439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010404" y="4666639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71F65A5B-907A-D3E8-F4A3-D663808F10E6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10404" y="5236118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D129577A-7E8C-5FBF-487E-29036A815B4D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1010404" y="5805592"/>
            <a:ext cx="6584400" cy="391391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B3524BBE-2B50-CB16-CA83-DD666DC952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10404" y="1730203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3015FD2E-AD7E-0B05-70D6-2AA06B7F3A0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10404" y="2299681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B9C7918A-B4FB-2395-6DC7-4E66399C9C2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10404" y="2869159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751882E2-D487-F421-03E1-13E800D5EF6F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010404" y="3438637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963ADFA5-76EF-14EF-4766-E8A59F9A683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010404" y="4008116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67" name="Text Placeholder 7">
            <a:extLst>
              <a:ext uri="{FF2B5EF4-FFF2-40B4-BE49-F238E27FC236}">
                <a16:creationId xmlns:a16="http://schemas.microsoft.com/office/drawing/2014/main" id="{3AD99FEC-9B45-A512-2391-5DE4A226ECF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010404" y="4577595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68" name="Text Placeholder 7">
            <a:extLst>
              <a:ext uri="{FF2B5EF4-FFF2-40B4-BE49-F238E27FC236}">
                <a16:creationId xmlns:a16="http://schemas.microsoft.com/office/drawing/2014/main" id="{74454216-CE61-CF6F-5C35-094E06A42B2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010404" y="5147074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4B1C47A3-265E-F335-0BC7-1DB01DFF84D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010404" y="5716553"/>
            <a:ext cx="65844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595B61DF-A2DC-7617-EBC8-3CC5ADC358B4}"/>
              </a:ext>
            </a:extLst>
          </p:cNvPr>
          <p:cNvSpPr>
            <a:spLocks noGrp="1"/>
          </p:cNvSpPr>
          <p:nvPr>
            <p:ph type="pic" sz="quarter" idx="111" hasCustomPrompt="1"/>
          </p:nvPr>
        </p:nvSpPr>
        <p:spPr>
          <a:xfrm>
            <a:off x="371475" y="1248544"/>
            <a:ext cx="393838" cy="39383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A0614CF4-D728-9766-6232-8570153F4C73}"/>
              </a:ext>
            </a:extLst>
          </p:cNvPr>
          <p:cNvSpPr>
            <a:spLocks noGrp="1"/>
          </p:cNvSpPr>
          <p:nvPr>
            <p:ph type="pic" sz="quarter" idx="112" hasCustomPrompt="1"/>
          </p:nvPr>
        </p:nvSpPr>
        <p:spPr>
          <a:xfrm>
            <a:off x="371475" y="1818022"/>
            <a:ext cx="393838" cy="39383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9E05B190-E174-F816-105B-17C4D81CE136}"/>
              </a:ext>
            </a:extLst>
          </p:cNvPr>
          <p:cNvSpPr>
            <a:spLocks noGrp="1"/>
          </p:cNvSpPr>
          <p:nvPr>
            <p:ph type="pic" sz="quarter" idx="113" hasCustomPrompt="1"/>
          </p:nvPr>
        </p:nvSpPr>
        <p:spPr>
          <a:xfrm>
            <a:off x="371475" y="2387500"/>
            <a:ext cx="393838" cy="39383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FC50DD2-2207-65AD-76D7-E2C6232B1824}"/>
              </a:ext>
            </a:extLst>
          </p:cNvPr>
          <p:cNvSpPr>
            <a:spLocks noGrp="1"/>
          </p:cNvSpPr>
          <p:nvPr>
            <p:ph type="pic" sz="quarter" idx="114" hasCustomPrompt="1"/>
          </p:nvPr>
        </p:nvSpPr>
        <p:spPr>
          <a:xfrm>
            <a:off x="371475" y="2956978"/>
            <a:ext cx="393838" cy="39383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181B9794-66FA-6C95-D444-9FAFD853878E}"/>
              </a:ext>
            </a:extLst>
          </p:cNvPr>
          <p:cNvSpPr>
            <a:spLocks noGrp="1"/>
          </p:cNvSpPr>
          <p:nvPr>
            <p:ph type="pic" sz="quarter" idx="115" hasCustomPrompt="1"/>
          </p:nvPr>
        </p:nvSpPr>
        <p:spPr>
          <a:xfrm>
            <a:off x="371475" y="3526456"/>
            <a:ext cx="393838" cy="39383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2FC1DBA2-BF06-BD08-59B2-1196D8730249}"/>
              </a:ext>
            </a:extLst>
          </p:cNvPr>
          <p:cNvSpPr>
            <a:spLocks noGrp="1"/>
          </p:cNvSpPr>
          <p:nvPr>
            <p:ph type="pic" sz="quarter" idx="116" hasCustomPrompt="1"/>
          </p:nvPr>
        </p:nvSpPr>
        <p:spPr>
          <a:xfrm>
            <a:off x="371475" y="4095934"/>
            <a:ext cx="393838" cy="39383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4431F147-3CBA-A9C5-10C9-32B82DF8BBB2}"/>
              </a:ext>
            </a:extLst>
          </p:cNvPr>
          <p:cNvSpPr>
            <a:spLocks noGrp="1"/>
          </p:cNvSpPr>
          <p:nvPr>
            <p:ph type="pic" sz="quarter" idx="117" hasCustomPrompt="1"/>
          </p:nvPr>
        </p:nvSpPr>
        <p:spPr>
          <a:xfrm>
            <a:off x="371475" y="4665412"/>
            <a:ext cx="393838" cy="39383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F862910B-A5A8-766D-CF5B-45903B669243}"/>
              </a:ext>
            </a:extLst>
          </p:cNvPr>
          <p:cNvSpPr>
            <a:spLocks noGrp="1"/>
          </p:cNvSpPr>
          <p:nvPr>
            <p:ph type="pic" sz="quarter" idx="118" hasCustomPrompt="1"/>
          </p:nvPr>
        </p:nvSpPr>
        <p:spPr>
          <a:xfrm>
            <a:off x="371475" y="5234890"/>
            <a:ext cx="393838" cy="39383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30" name="Picture Placeholder 14">
            <a:extLst>
              <a:ext uri="{FF2B5EF4-FFF2-40B4-BE49-F238E27FC236}">
                <a16:creationId xmlns:a16="http://schemas.microsoft.com/office/drawing/2014/main" id="{A443BC48-73F7-7C07-B3F3-36275F416A22}"/>
              </a:ext>
            </a:extLst>
          </p:cNvPr>
          <p:cNvSpPr>
            <a:spLocks noGrp="1"/>
          </p:cNvSpPr>
          <p:nvPr>
            <p:ph type="pic" sz="quarter" idx="119" hasCustomPrompt="1"/>
          </p:nvPr>
        </p:nvSpPr>
        <p:spPr>
          <a:xfrm>
            <a:off x="371475" y="5804368"/>
            <a:ext cx="393838" cy="39383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CA73716C-46D9-2036-98A8-092B2A4FA2DE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3675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AE56E67-EB93-808B-7D49-EEC2BC3F6B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2109102"/>
            <a:ext cx="7155678" cy="678056"/>
          </a:xfrm>
          <a:prstGeom prst="rect">
            <a:avLst/>
          </a:prstGeom>
        </p:spPr>
        <p:txBody>
          <a:bodyPr anchor="ctr"/>
          <a:lstStyle>
            <a:lvl1pPr algn="l">
              <a:defRPr sz="5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Breaker A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A444AF-CC39-3D9A-F74E-D623763668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3089029"/>
            <a:ext cx="7156450" cy="811151"/>
          </a:xfrm>
          <a:prstGeom prst="rect">
            <a:avLst/>
          </a:prstGeom>
        </p:spPr>
        <p:txBody>
          <a:bodyPr anchor="ctr"/>
          <a:lstStyle>
            <a:lvl1pPr>
              <a:defRPr lang="en-US" sz="2400" b="0" kern="1200" dirty="0" smtClean="0">
                <a:solidFill>
                  <a:srgbClr val="40454D"/>
                </a:solidFill>
                <a:latin typeface="DM Sans" pitchFamily="2" charset="0"/>
                <a:ea typeface="+mj-ea"/>
                <a:cs typeface="DM Sans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DM Sans" pitchFamily="2" charset="0"/>
              <a:buNone/>
              <a:tabLst/>
              <a:defRPr/>
            </a:pPr>
            <a:r>
              <a:rPr lang="en-US"/>
              <a:t>This is a subhead for added messaging </a:t>
            </a:r>
            <a:br>
              <a:rPr lang="en-US"/>
            </a:br>
            <a:r>
              <a:rPr lang="en-US"/>
              <a:t>on a breaker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F0380102-D588-B305-1EC3-31C8AD424002}"/>
              </a:ext>
            </a:extLst>
          </p:cNvPr>
          <p:cNvSpPr/>
          <p:nvPr userDrawn="1"/>
        </p:nvSpPr>
        <p:spPr>
          <a:xfrm>
            <a:off x="5220454" y="6934"/>
            <a:ext cx="6971546" cy="6851067"/>
          </a:xfrm>
          <a:custGeom>
            <a:avLst/>
            <a:gdLst>
              <a:gd name="connsiteX0" fmla="*/ 6971546 w 6971546"/>
              <a:gd name="connsiteY0" fmla="*/ 0 h 6851067"/>
              <a:gd name="connsiteX1" fmla="*/ 6971546 w 6971546"/>
              <a:gd name="connsiteY1" fmla="*/ 2188516 h 6851067"/>
              <a:gd name="connsiteX2" fmla="*/ 6937991 w 6971546"/>
              <a:gd name="connsiteY2" fmla="*/ 2232665 h 6851067"/>
              <a:gd name="connsiteX3" fmla="*/ 6884304 w 6971546"/>
              <a:gd name="connsiteY3" fmla="*/ 2304872 h 6851067"/>
              <a:gd name="connsiteX4" fmla="*/ 6831236 w 6971546"/>
              <a:gd name="connsiteY4" fmla="*/ 2377761 h 6851067"/>
              <a:gd name="connsiteX5" fmla="*/ 6778740 w 6971546"/>
              <a:gd name="connsiteY5" fmla="*/ 2451318 h 6851067"/>
              <a:gd name="connsiteX6" fmla="*/ 6726770 w 6971546"/>
              <a:gd name="connsiteY6" fmla="*/ 2525520 h 6851067"/>
              <a:gd name="connsiteX7" fmla="*/ 6675289 w 6971546"/>
              <a:gd name="connsiteY7" fmla="*/ 2600359 h 6851067"/>
              <a:gd name="connsiteX8" fmla="*/ 6624246 w 6971546"/>
              <a:gd name="connsiteY8" fmla="*/ 2675810 h 6851067"/>
              <a:gd name="connsiteX9" fmla="*/ 6573602 w 6971546"/>
              <a:gd name="connsiteY9" fmla="*/ 2751863 h 6851067"/>
              <a:gd name="connsiteX10" fmla="*/ 6523311 w 6971546"/>
              <a:gd name="connsiteY10" fmla="*/ 2828495 h 6851067"/>
              <a:gd name="connsiteX11" fmla="*/ 6473328 w 6971546"/>
              <a:gd name="connsiteY11" fmla="*/ 2905694 h 6851067"/>
              <a:gd name="connsiteX12" fmla="*/ 6423610 w 6971546"/>
              <a:gd name="connsiteY12" fmla="*/ 2983438 h 6851067"/>
              <a:gd name="connsiteX13" fmla="*/ 6324797 w 6971546"/>
              <a:gd name="connsiteY13" fmla="*/ 3140510 h 6851067"/>
              <a:gd name="connsiteX14" fmla="*/ 6226516 w 6971546"/>
              <a:gd name="connsiteY14" fmla="*/ 3299569 h 6851067"/>
              <a:gd name="connsiteX15" fmla="*/ 6128416 w 6971546"/>
              <a:gd name="connsiteY15" fmla="*/ 3460487 h 6851067"/>
              <a:gd name="connsiteX16" fmla="*/ 5680557 w 6971546"/>
              <a:gd name="connsiteY16" fmla="*/ 4202845 h 6851067"/>
              <a:gd name="connsiteX17" fmla="*/ 5574376 w 6971546"/>
              <a:gd name="connsiteY17" fmla="*/ 4376013 h 6851067"/>
              <a:gd name="connsiteX18" fmla="*/ 5465287 w 6971546"/>
              <a:gd name="connsiteY18" fmla="*/ 4551238 h 6851067"/>
              <a:gd name="connsiteX19" fmla="*/ 5353584 w 6971546"/>
              <a:gd name="connsiteY19" fmla="*/ 4727228 h 6851067"/>
              <a:gd name="connsiteX20" fmla="*/ 5296844 w 6971546"/>
              <a:gd name="connsiteY20" fmla="*/ 4815108 h 6851067"/>
              <a:gd name="connsiteX21" fmla="*/ 5239559 w 6971546"/>
              <a:gd name="connsiteY21" fmla="*/ 4902699 h 6851067"/>
              <a:gd name="connsiteX22" fmla="*/ 5104496 w 6971546"/>
              <a:gd name="connsiteY22" fmla="*/ 5106135 h 6851067"/>
              <a:gd name="connsiteX23" fmla="*/ 5037875 w 6971546"/>
              <a:gd name="connsiteY23" fmla="*/ 5205072 h 6851067"/>
              <a:gd name="connsiteX24" fmla="*/ 4971784 w 6971546"/>
              <a:gd name="connsiteY24" fmla="*/ 5302175 h 6851067"/>
              <a:gd name="connsiteX25" fmla="*/ 4906170 w 6971546"/>
              <a:gd name="connsiteY25" fmla="*/ 5397459 h 6851067"/>
              <a:gd name="connsiteX26" fmla="*/ 4840972 w 6971546"/>
              <a:gd name="connsiteY26" fmla="*/ 5490944 h 6851067"/>
              <a:gd name="connsiteX27" fmla="*/ 4776142 w 6971546"/>
              <a:gd name="connsiteY27" fmla="*/ 5582643 h 6851067"/>
              <a:gd name="connsiteX28" fmla="*/ 4711617 w 6971546"/>
              <a:gd name="connsiteY28" fmla="*/ 5672575 h 6851067"/>
              <a:gd name="connsiteX29" fmla="*/ 4647346 w 6971546"/>
              <a:gd name="connsiteY29" fmla="*/ 5760752 h 6851067"/>
              <a:gd name="connsiteX30" fmla="*/ 4583268 w 6971546"/>
              <a:gd name="connsiteY30" fmla="*/ 5847192 h 6851067"/>
              <a:gd name="connsiteX31" fmla="*/ 4519332 w 6971546"/>
              <a:gd name="connsiteY31" fmla="*/ 5931910 h 6851067"/>
              <a:gd name="connsiteX32" fmla="*/ 4455479 w 6971546"/>
              <a:gd name="connsiteY32" fmla="*/ 6014925 h 6851067"/>
              <a:gd name="connsiteX33" fmla="*/ 4391654 w 6971546"/>
              <a:gd name="connsiteY33" fmla="*/ 6096252 h 6851067"/>
              <a:gd name="connsiteX34" fmla="*/ 4327800 w 6971546"/>
              <a:gd name="connsiteY34" fmla="*/ 6175907 h 6851067"/>
              <a:gd name="connsiteX35" fmla="*/ 4263864 w 6971546"/>
              <a:gd name="connsiteY35" fmla="*/ 6253905 h 6851067"/>
              <a:gd name="connsiteX36" fmla="*/ 4199787 w 6971546"/>
              <a:gd name="connsiteY36" fmla="*/ 6330264 h 6851067"/>
              <a:gd name="connsiteX37" fmla="*/ 4135512 w 6971546"/>
              <a:gd name="connsiteY37" fmla="*/ 6404997 h 6851067"/>
              <a:gd name="connsiteX38" fmla="*/ 4070987 w 6971546"/>
              <a:gd name="connsiteY38" fmla="*/ 6478124 h 6851067"/>
              <a:gd name="connsiteX39" fmla="*/ 4006156 w 6971546"/>
              <a:gd name="connsiteY39" fmla="*/ 6549659 h 6851067"/>
              <a:gd name="connsiteX40" fmla="*/ 3940959 w 6971546"/>
              <a:gd name="connsiteY40" fmla="*/ 6619617 h 6851067"/>
              <a:gd name="connsiteX41" fmla="*/ 3875340 w 6971546"/>
              <a:gd name="connsiteY41" fmla="*/ 6688018 h 6851067"/>
              <a:gd name="connsiteX42" fmla="*/ 3809247 w 6971546"/>
              <a:gd name="connsiteY42" fmla="*/ 6754872 h 6851067"/>
              <a:gd name="connsiteX43" fmla="*/ 3742623 w 6971546"/>
              <a:gd name="connsiteY43" fmla="*/ 6820201 h 6851067"/>
              <a:gd name="connsiteX44" fmla="*/ 3710117 w 6971546"/>
              <a:gd name="connsiteY44" fmla="*/ 6851067 h 6851067"/>
              <a:gd name="connsiteX45" fmla="*/ 0 w 6971546"/>
              <a:gd name="connsiteY45" fmla="*/ 6851067 h 6851067"/>
              <a:gd name="connsiteX46" fmla="*/ 84651 w 6971546"/>
              <a:gd name="connsiteY46" fmla="*/ 6841039 h 6851067"/>
              <a:gd name="connsiteX47" fmla="*/ 187667 w 6971546"/>
              <a:gd name="connsiteY47" fmla="*/ 6827649 h 6851067"/>
              <a:gd name="connsiteX48" fmla="*/ 288454 w 6971546"/>
              <a:gd name="connsiteY48" fmla="*/ 6813335 h 6851067"/>
              <a:gd name="connsiteX49" fmla="*/ 387054 w 6971546"/>
              <a:gd name="connsiteY49" fmla="*/ 6798091 h 6851067"/>
              <a:gd name="connsiteX50" fmla="*/ 483510 w 6971546"/>
              <a:gd name="connsiteY50" fmla="*/ 6781907 h 6851067"/>
              <a:gd name="connsiteX51" fmla="*/ 577862 w 6971546"/>
              <a:gd name="connsiteY51" fmla="*/ 6764777 h 6851067"/>
              <a:gd name="connsiteX52" fmla="*/ 670155 w 6971546"/>
              <a:gd name="connsiteY52" fmla="*/ 6746694 h 6851067"/>
              <a:gd name="connsiteX53" fmla="*/ 760426 w 6971546"/>
              <a:gd name="connsiteY53" fmla="*/ 6727651 h 6851067"/>
              <a:gd name="connsiteX54" fmla="*/ 848721 w 6971546"/>
              <a:gd name="connsiteY54" fmla="*/ 6707640 h 6851067"/>
              <a:gd name="connsiteX55" fmla="*/ 935082 w 6971546"/>
              <a:gd name="connsiteY55" fmla="*/ 6686654 h 6851067"/>
              <a:gd name="connsiteX56" fmla="*/ 1019547 w 6971546"/>
              <a:gd name="connsiteY56" fmla="*/ 6664685 h 6851067"/>
              <a:gd name="connsiteX57" fmla="*/ 1102163 w 6971546"/>
              <a:gd name="connsiteY57" fmla="*/ 6641728 h 6851067"/>
              <a:gd name="connsiteX58" fmla="*/ 1182964 w 6971546"/>
              <a:gd name="connsiteY58" fmla="*/ 6617771 h 6851067"/>
              <a:gd name="connsiteX59" fmla="*/ 1261998 w 6971546"/>
              <a:gd name="connsiteY59" fmla="*/ 6592813 h 6851067"/>
              <a:gd name="connsiteX60" fmla="*/ 1339308 w 6971546"/>
              <a:gd name="connsiteY60" fmla="*/ 6566841 h 6851067"/>
              <a:gd name="connsiteX61" fmla="*/ 1414933 w 6971546"/>
              <a:gd name="connsiteY61" fmla="*/ 6539851 h 6851067"/>
              <a:gd name="connsiteX62" fmla="*/ 1488915 w 6971546"/>
              <a:gd name="connsiteY62" fmla="*/ 6511834 h 6851067"/>
              <a:gd name="connsiteX63" fmla="*/ 1561294 w 6971546"/>
              <a:gd name="connsiteY63" fmla="*/ 6482785 h 6851067"/>
              <a:gd name="connsiteX64" fmla="*/ 1701419 w 6971546"/>
              <a:gd name="connsiteY64" fmla="*/ 6421557 h 6851067"/>
              <a:gd name="connsiteX65" fmla="*/ 1835646 w 6971546"/>
              <a:gd name="connsiteY65" fmla="*/ 6356106 h 6851067"/>
              <a:gd name="connsiteX66" fmla="*/ 1964300 w 6971546"/>
              <a:gd name="connsiteY66" fmla="*/ 6286377 h 6851067"/>
              <a:gd name="connsiteX67" fmla="*/ 2044136 w 6971546"/>
              <a:gd name="connsiteY67" fmla="*/ 6239342 h 6851067"/>
              <a:gd name="connsiteX68" fmla="*/ 2122044 w 6971546"/>
              <a:gd name="connsiteY68" fmla="*/ 6190495 h 6851067"/>
              <a:gd name="connsiteX69" fmla="*/ 2198142 w 6971546"/>
              <a:gd name="connsiteY69" fmla="*/ 6139825 h 6851067"/>
              <a:gd name="connsiteX70" fmla="*/ 2272539 w 6971546"/>
              <a:gd name="connsiteY70" fmla="*/ 6087312 h 6851067"/>
              <a:gd name="connsiteX71" fmla="*/ 2345345 w 6971546"/>
              <a:gd name="connsiteY71" fmla="*/ 6032942 h 6851067"/>
              <a:gd name="connsiteX72" fmla="*/ 2416678 w 6971546"/>
              <a:gd name="connsiteY72" fmla="*/ 5976697 h 6851067"/>
              <a:gd name="connsiteX73" fmla="*/ 2486647 w 6971546"/>
              <a:gd name="connsiteY73" fmla="*/ 5918565 h 6851067"/>
              <a:gd name="connsiteX74" fmla="*/ 2555365 w 6971546"/>
              <a:gd name="connsiteY74" fmla="*/ 5858528 h 6851067"/>
              <a:gd name="connsiteX75" fmla="*/ 2622945 w 6971546"/>
              <a:gd name="connsiteY75" fmla="*/ 5796570 h 6851067"/>
              <a:gd name="connsiteX76" fmla="*/ 2689497 w 6971546"/>
              <a:gd name="connsiteY76" fmla="*/ 5732675 h 6851067"/>
              <a:gd name="connsiteX77" fmla="*/ 2755136 w 6971546"/>
              <a:gd name="connsiteY77" fmla="*/ 5666828 h 6851067"/>
              <a:gd name="connsiteX78" fmla="*/ 2819971 w 6971546"/>
              <a:gd name="connsiteY78" fmla="*/ 5599013 h 6851067"/>
              <a:gd name="connsiteX79" fmla="*/ 2884121 w 6971546"/>
              <a:gd name="connsiteY79" fmla="*/ 5529215 h 6851067"/>
              <a:gd name="connsiteX80" fmla="*/ 2947691 w 6971546"/>
              <a:gd name="connsiteY80" fmla="*/ 5457417 h 6851067"/>
              <a:gd name="connsiteX81" fmla="*/ 3010801 w 6971546"/>
              <a:gd name="connsiteY81" fmla="*/ 5383602 h 6851067"/>
              <a:gd name="connsiteX82" fmla="*/ 3073554 w 6971546"/>
              <a:gd name="connsiteY82" fmla="*/ 5307756 h 6851067"/>
              <a:gd name="connsiteX83" fmla="*/ 3136071 w 6971546"/>
              <a:gd name="connsiteY83" fmla="*/ 5229864 h 6851067"/>
              <a:gd name="connsiteX84" fmla="*/ 3198459 w 6971546"/>
              <a:gd name="connsiteY84" fmla="*/ 5149908 h 6851067"/>
              <a:gd name="connsiteX85" fmla="*/ 3260834 w 6971546"/>
              <a:gd name="connsiteY85" fmla="*/ 5067873 h 6851067"/>
              <a:gd name="connsiteX86" fmla="*/ 3323306 w 6971546"/>
              <a:gd name="connsiteY86" fmla="*/ 4983744 h 6851067"/>
              <a:gd name="connsiteX87" fmla="*/ 3385990 w 6971546"/>
              <a:gd name="connsiteY87" fmla="*/ 4897504 h 6851067"/>
              <a:gd name="connsiteX88" fmla="*/ 3448996 w 6971546"/>
              <a:gd name="connsiteY88" fmla="*/ 4809138 h 6851067"/>
              <a:gd name="connsiteX89" fmla="*/ 3512436 w 6971546"/>
              <a:gd name="connsiteY89" fmla="*/ 4718631 h 6851067"/>
              <a:gd name="connsiteX90" fmla="*/ 3576424 w 6971546"/>
              <a:gd name="connsiteY90" fmla="*/ 4625966 h 6851067"/>
              <a:gd name="connsiteX91" fmla="*/ 3641071 w 6971546"/>
              <a:gd name="connsiteY91" fmla="*/ 4531128 h 6851067"/>
              <a:gd name="connsiteX92" fmla="*/ 3772797 w 6971546"/>
              <a:gd name="connsiteY92" fmla="*/ 4334864 h 6851067"/>
              <a:gd name="connsiteX93" fmla="*/ 3908511 w 6971546"/>
              <a:gd name="connsiteY93" fmla="*/ 4129718 h 6851067"/>
              <a:gd name="connsiteX94" fmla="*/ 3966217 w 6971546"/>
              <a:gd name="connsiteY94" fmla="*/ 4041379 h 6851067"/>
              <a:gd name="connsiteX95" fmla="*/ 4023348 w 6971546"/>
              <a:gd name="connsiteY95" fmla="*/ 3952716 h 6851067"/>
              <a:gd name="connsiteX96" fmla="*/ 4079928 w 6971546"/>
              <a:gd name="connsiteY96" fmla="*/ 3863805 h 6851067"/>
              <a:gd name="connsiteX97" fmla="*/ 4135986 w 6971546"/>
              <a:gd name="connsiteY97" fmla="*/ 3774719 h 6851067"/>
              <a:gd name="connsiteX98" fmla="*/ 4246624 w 6971546"/>
              <a:gd name="connsiteY98" fmla="*/ 3596319 h 6851067"/>
              <a:gd name="connsiteX99" fmla="*/ 4355472 w 6971546"/>
              <a:gd name="connsiteY99" fmla="*/ 3418120 h 6851067"/>
              <a:gd name="connsiteX100" fmla="*/ 4788690 w 6971546"/>
              <a:gd name="connsiteY100" fmla="*/ 2699836 h 6851067"/>
              <a:gd name="connsiteX101" fmla="*/ 4922636 w 6971546"/>
              <a:gd name="connsiteY101" fmla="*/ 2481041 h 6851067"/>
              <a:gd name="connsiteX102" fmla="*/ 5013172 w 6971546"/>
              <a:gd name="connsiteY102" fmla="*/ 2335521 h 6851067"/>
              <a:gd name="connsiteX103" fmla="*/ 5104952 w 6971546"/>
              <a:gd name="connsiteY103" fmla="*/ 2190436 h 6851067"/>
              <a:gd name="connsiteX104" fmla="*/ 5198200 w 6971546"/>
              <a:gd name="connsiteY104" fmla="*/ 2045920 h 6851067"/>
              <a:gd name="connsiteX105" fmla="*/ 5293132 w 6971546"/>
              <a:gd name="connsiteY105" fmla="*/ 1902114 h 6851067"/>
              <a:gd name="connsiteX106" fmla="*/ 5341296 w 6971546"/>
              <a:gd name="connsiteY106" fmla="*/ 1830521 h 6851067"/>
              <a:gd name="connsiteX107" fmla="*/ 5389964 w 6971546"/>
              <a:gd name="connsiteY107" fmla="*/ 1759157 h 6851067"/>
              <a:gd name="connsiteX108" fmla="*/ 5439162 w 6971546"/>
              <a:gd name="connsiteY108" fmla="*/ 1688039 h 6851067"/>
              <a:gd name="connsiteX109" fmla="*/ 5488921 w 6971546"/>
              <a:gd name="connsiteY109" fmla="*/ 1617184 h 6851067"/>
              <a:gd name="connsiteX110" fmla="*/ 5539262 w 6971546"/>
              <a:gd name="connsiteY110" fmla="*/ 1546611 h 6851067"/>
              <a:gd name="connsiteX111" fmla="*/ 5590216 w 6971546"/>
              <a:gd name="connsiteY111" fmla="*/ 1476334 h 6851067"/>
              <a:gd name="connsiteX112" fmla="*/ 5641810 w 6971546"/>
              <a:gd name="connsiteY112" fmla="*/ 1406373 h 6851067"/>
              <a:gd name="connsiteX113" fmla="*/ 5694072 w 6971546"/>
              <a:gd name="connsiteY113" fmla="*/ 1336745 h 6851067"/>
              <a:gd name="connsiteX114" fmla="*/ 5747026 w 6971546"/>
              <a:gd name="connsiteY114" fmla="*/ 1267466 h 6851067"/>
              <a:gd name="connsiteX115" fmla="*/ 5800703 w 6971546"/>
              <a:gd name="connsiteY115" fmla="*/ 1198553 h 6851067"/>
              <a:gd name="connsiteX116" fmla="*/ 5855129 w 6971546"/>
              <a:gd name="connsiteY116" fmla="*/ 1130025 h 6851067"/>
              <a:gd name="connsiteX117" fmla="*/ 5910332 w 6971546"/>
              <a:gd name="connsiteY117" fmla="*/ 1061898 h 6851067"/>
              <a:gd name="connsiteX118" fmla="*/ 5966338 w 6971546"/>
              <a:gd name="connsiteY118" fmla="*/ 994190 h 6851067"/>
              <a:gd name="connsiteX119" fmla="*/ 6023176 w 6971546"/>
              <a:gd name="connsiteY119" fmla="*/ 926917 h 6851067"/>
              <a:gd name="connsiteX120" fmla="*/ 6080870 w 6971546"/>
              <a:gd name="connsiteY120" fmla="*/ 860096 h 6851067"/>
              <a:gd name="connsiteX121" fmla="*/ 6139454 w 6971546"/>
              <a:gd name="connsiteY121" fmla="*/ 793746 h 6851067"/>
              <a:gd name="connsiteX122" fmla="*/ 6198948 w 6971546"/>
              <a:gd name="connsiteY122" fmla="*/ 727883 h 6851067"/>
              <a:gd name="connsiteX123" fmla="*/ 6259385 w 6971546"/>
              <a:gd name="connsiteY123" fmla="*/ 662525 h 6851067"/>
              <a:gd name="connsiteX124" fmla="*/ 6320788 w 6971546"/>
              <a:gd name="connsiteY124" fmla="*/ 597687 h 6851067"/>
              <a:gd name="connsiteX125" fmla="*/ 6383186 w 6971546"/>
              <a:gd name="connsiteY125" fmla="*/ 533390 h 6851067"/>
              <a:gd name="connsiteX126" fmla="*/ 6446606 w 6971546"/>
              <a:gd name="connsiteY126" fmla="*/ 469646 h 6851067"/>
              <a:gd name="connsiteX127" fmla="*/ 6511078 w 6971546"/>
              <a:gd name="connsiteY127" fmla="*/ 406478 h 6851067"/>
              <a:gd name="connsiteX128" fmla="*/ 6576626 w 6971546"/>
              <a:gd name="connsiteY128" fmla="*/ 343901 h 6851067"/>
              <a:gd name="connsiteX129" fmla="*/ 6643276 w 6971546"/>
              <a:gd name="connsiteY129" fmla="*/ 281931 h 6851067"/>
              <a:gd name="connsiteX130" fmla="*/ 6711060 w 6971546"/>
              <a:gd name="connsiteY130" fmla="*/ 220584 h 6851067"/>
              <a:gd name="connsiteX131" fmla="*/ 6780006 w 6971546"/>
              <a:gd name="connsiteY131" fmla="*/ 159882 h 6851067"/>
              <a:gd name="connsiteX132" fmla="*/ 6850134 w 6971546"/>
              <a:gd name="connsiteY132" fmla="*/ 99839 h 6851067"/>
              <a:gd name="connsiteX133" fmla="*/ 6921479 w 6971546"/>
              <a:gd name="connsiteY133" fmla="*/ 40471 h 6851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6971546" h="6851067">
                <a:moveTo>
                  <a:pt x="6971546" y="0"/>
                </a:moveTo>
                <a:lnTo>
                  <a:pt x="6971546" y="2188516"/>
                </a:lnTo>
                <a:lnTo>
                  <a:pt x="6937991" y="2232665"/>
                </a:lnTo>
                <a:lnTo>
                  <a:pt x="6884304" y="2304872"/>
                </a:lnTo>
                <a:lnTo>
                  <a:pt x="6831236" y="2377761"/>
                </a:lnTo>
                <a:lnTo>
                  <a:pt x="6778740" y="2451318"/>
                </a:lnTo>
                <a:lnTo>
                  <a:pt x="6726770" y="2525520"/>
                </a:lnTo>
                <a:lnTo>
                  <a:pt x="6675289" y="2600359"/>
                </a:lnTo>
                <a:lnTo>
                  <a:pt x="6624246" y="2675810"/>
                </a:lnTo>
                <a:lnTo>
                  <a:pt x="6573602" y="2751863"/>
                </a:lnTo>
                <a:lnTo>
                  <a:pt x="6523311" y="2828495"/>
                </a:lnTo>
                <a:lnTo>
                  <a:pt x="6473328" y="2905694"/>
                </a:lnTo>
                <a:lnTo>
                  <a:pt x="6423610" y="2983438"/>
                </a:lnTo>
                <a:lnTo>
                  <a:pt x="6324797" y="3140510"/>
                </a:lnTo>
                <a:lnTo>
                  <a:pt x="6226516" y="3299569"/>
                </a:lnTo>
                <a:lnTo>
                  <a:pt x="6128416" y="3460487"/>
                </a:lnTo>
                <a:lnTo>
                  <a:pt x="5680557" y="4202845"/>
                </a:lnTo>
                <a:lnTo>
                  <a:pt x="5574376" y="4376013"/>
                </a:lnTo>
                <a:lnTo>
                  <a:pt x="5465287" y="4551238"/>
                </a:lnTo>
                <a:lnTo>
                  <a:pt x="5353584" y="4727228"/>
                </a:lnTo>
                <a:lnTo>
                  <a:pt x="5296844" y="4815108"/>
                </a:lnTo>
                <a:lnTo>
                  <a:pt x="5239559" y="4902699"/>
                </a:lnTo>
                <a:lnTo>
                  <a:pt x="5104496" y="5106135"/>
                </a:lnTo>
                <a:lnTo>
                  <a:pt x="5037875" y="5205072"/>
                </a:lnTo>
                <a:lnTo>
                  <a:pt x="4971784" y="5302175"/>
                </a:lnTo>
                <a:lnTo>
                  <a:pt x="4906170" y="5397459"/>
                </a:lnTo>
                <a:lnTo>
                  <a:pt x="4840972" y="5490944"/>
                </a:lnTo>
                <a:lnTo>
                  <a:pt x="4776142" y="5582643"/>
                </a:lnTo>
                <a:lnTo>
                  <a:pt x="4711617" y="5672575"/>
                </a:lnTo>
                <a:lnTo>
                  <a:pt x="4647346" y="5760752"/>
                </a:lnTo>
                <a:lnTo>
                  <a:pt x="4583268" y="5847192"/>
                </a:lnTo>
                <a:lnTo>
                  <a:pt x="4519332" y="5931910"/>
                </a:lnTo>
                <a:lnTo>
                  <a:pt x="4455479" y="6014925"/>
                </a:lnTo>
                <a:lnTo>
                  <a:pt x="4391654" y="6096252"/>
                </a:lnTo>
                <a:lnTo>
                  <a:pt x="4327800" y="6175907"/>
                </a:lnTo>
                <a:lnTo>
                  <a:pt x="4263864" y="6253905"/>
                </a:lnTo>
                <a:lnTo>
                  <a:pt x="4199787" y="6330264"/>
                </a:lnTo>
                <a:lnTo>
                  <a:pt x="4135512" y="6404997"/>
                </a:lnTo>
                <a:lnTo>
                  <a:pt x="4070987" y="6478124"/>
                </a:lnTo>
                <a:lnTo>
                  <a:pt x="4006156" y="6549659"/>
                </a:lnTo>
                <a:lnTo>
                  <a:pt x="3940959" y="6619617"/>
                </a:lnTo>
                <a:lnTo>
                  <a:pt x="3875340" y="6688018"/>
                </a:lnTo>
                <a:lnTo>
                  <a:pt x="3809247" y="6754872"/>
                </a:lnTo>
                <a:lnTo>
                  <a:pt x="3742623" y="6820201"/>
                </a:lnTo>
                <a:lnTo>
                  <a:pt x="3710117" y="6851067"/>
                </a:lnTo>
                <a:lnTo>
                  <a:pt x="0" y="6851067"/>
                </a:lnTo>
                <a:lnTo>
                  <a:pt x="84651" y="6841039"/>
                </a:lnTo>
                <a:lnTo>
                  <a:pt x="187667" y="6827649"/>
                </a:lnTo>
                <a:lnTo>
                  <a:pt x="288454" y="6813335"/>
                </a:lnTo>
                <a:lnTo>
                  <a:pt x="387054" y="6798091"/>
                </a:lnTo>
                <a:lnTo>
                  <a:pt x="483510" y="6781907"/>
                </a:lnTo>
                <a:lnTo>
                  <a:pt x="577862" y="6764777"/>
                </a:lnTo>
                <a:lnTo>
                  <a:pt x="670155" y="6746694"/>
                </a:lnTo>
                <a:lnTo>
                  <a:pt x="760426" y="6727651"/>
                </a:lnTo>
                <a:lnTo>
                  <a:pt x="848721" y="6707640"/>
                </a:lnTo>
                <a:lnTo>
                  <a:pt x="935082" y="6686654"/>
                </a:lnTo>
                <a:lnTo>
                  <a:pt x="1019547" y="6664685"/>
                </a:lnTo>
                <a:lnTo>
                  <a:pt x="1102163" y="6641728"/>
                </a:lnTo>
                <a:lnTo>
                  <a:pt x="1182964" y="6617771"/>
                </a:lnTo>
                <a:lnTo>
                  <a:pt x="1261998" y="6592813"/>
                </a:lnTo>
                <a:lnTo>
                  <a:pt x="1339308" y="6566841"/>
                </a:lnTo>
                <a:lnTo>
                  <a:pt x="1414933" y="6539851"/>
                </a:lnTo>
                <a:lnTo>
                  <a:pt x="1488915" y="6511834"/>
                </a:lnTo>
                <a:lnTo>
                  <a:pt x="1561294" y="6482785"/>
                </a:lnTo>
                <a:lnTo>
                  <a:pt x="1701419" y="6421557"/>
                </a:lnTo>
                <a:lnTo>
                  <a:pt x="1835646" y="6356106"/>
                </a:lnTo>
                <a:lnTo>
                  <a:pt x="1964300" y="6286377"/>
                </a:lnTo>
                <a:lnTo>
                  <a:pt x="2044136" y="6239342"/>
                </a:lnTo>
                <a:lnTo>
                  <a:pt x="2122044" y="6190495"/>
                </a:lnTo>
                <a:lnTo>
                  <a:pt x="2198142" y="6139825"/>
                </a:lnTo>
                <a:lnTo>
                  <a:pt x="2272539" y="6087312"/>
                </a:lnTo>
                <a:lnTo>
                  <a:pt x="2345345" y="6032942"/>
                </a:lnTo>
                <a:lnTo>
                  <a:pt x="2416678" y="5976697"/>
                </a:lnTo>
                <a:lnTo>
                  <a:pt x="2486647" y="5918565"/>
                </a:lnTo>
                <a:lnTo>
                  <a:pt x="2555365" y="5858528"/>
                </a:lnTo>
                <a:lnTo>
                  <a:pt x="2622945" y="5796570"/>
                </a:lnTo>
                <a:lnTo>
                  <a:pt x="2689497" y="5732675"/>
                </a:lnTo>
                <a:lnTo>
                  <a:pt x="2755136" y="5666828"/>
                </a:lnTo>
                <a:lnTo>
                  <a:pt x="2819971" y="5599013"/>
                </a:lnTo>
                <a:lnTo>
                  <a:pt x="2884121" y="5529215"/>
                </a:lnTo>
                <a:lnTo>
                  <a:pt x="2947691" y="5457417"/>
                </a:lnTo>
                <a:lnTo>
                  <a:pt x="3010801" y="5383602"/>
                </a:lnTo>
                <a:lnTo>
                  <a:pt x="3073554" y="5307756"/>
                </a:lnTo>
                <a:lnTo>
                  <a:pt x="3136071" y="5229864"/>
                </a:lnTo>
                <a:lnTo>
                  <a:pt x="3198459" y="5149908"/>
                </a:lnTo>
                <a:lnTo>
                  <a:pt x="3260834" y="5067873"/>
                </a:lnTo>
                <a:lnTo>
                  <a:pt x="3323306" y="4983744"/>
                </a:lnTo>
                <a:lnTo>
                  <a:pt x="3385990" y="4897504"/>
                </a:lnTo>
                <a:lnTo>
                  <a:pt x="3448996" y="4809138"/>
                </a:lnTo>
                <a:lnTo>
                  <a:pt x="3512436" y="4718631"/>
                </a:lnTo>
                <a:lnTo>
                  <a:pt x="3576424" y="4625966"/>
                </a:lnTo>
                <a:lnTo>
                  <a:pt x="3641071" y="4531128"/>
                </a:lnTo>
                <a:lnTo>
                  <a:pt x="3772797" y="4334864"/>
                </a:lnTo>
                <a:lnTo>
                  <a:pt x="3908511" y="4129718"/>
                </a:lnTo>
                <a:lnTo>
                  <a:pt x="3966217" y="4041379"/>
                </a:lnTo>
                <a:lnTo>
                  <a:pt x="4023348" y="3952716"/>
                </a:lnTo>
                <a:lnTo>
                  <a:pt x="4079928" y="3863805"/>
                </a:lnTo>
                <a:lnTo>
                  <a:pt x="4135986" y="3774719"/>
                </a:lnTo>
                <a:lnTo>
                  <a:pt x="4246624" y="3596319"/>
                </a:lnTo>
                <a:lnTo>
                  <a:pt x="4355472" y="3418120"/>
                </a:lnTo>
                <a:lnTo>
                  <a:pt x="4788690" y="2699836"/>
                </a:lnTo>
                <a:lnTo>
                  <a:pt x="4922636" y="2481041"/>
                </a:lnTo>
                <a:lnTo>
                  <a:pt x="5013172" y="2335521"/>
                </a:lnTo>
                <a:lnTo>
                  <a:pt x="5104952" y="2190436"/>
                </a:lnTo>
                <a:lnTo>
                  <a:pt x="5198200" y="2045920"/>
                </a:lnTo>
                <a:lnTo>
                  <a:pt x="5293132" y="1902114"/>
                </a:lnTo>
                <a:lnTo>
                  <a:pt x="5341296" y="1830521"/>
                </a:lnTo>
                <a:lnTo>
                  <a:pt x="5389964" y="1759157"/>
                </a:lnTo>
                <a:lnTo>
                  <a:pt x="5439162" y="1688039"/>
                </a:lnTo>
                <a:lnTo>
                  <a:pt x="5488921" y="1617184"/>
                </a:lnTo>
                <a:lnTo>
                  <a:pt x="5539262" y="1546611"/>
                </a:lnTo>
                <a:lnTo>
                  <a:pt x="5590216" y="1476334"/>
                </a:lnTo>
                <a:lnTo>
                  <a:pt x="5641810" y="1406373"/>
                </a:lnTo>
                <a:lnTo>
                  <a:pt x="5694072" y="1336745"/>
                </a:lnTo>
                <a:lnTo>
                  <a:pt x="5747026" y="1267466"/>
                </a:lnTo>
                <a:lnTo>
                  <a:pt x="5800703" y="1198553"/>
                </a:lnTo>
                <a:lnTo>
                  <a:pt x="5855129" y="1130025"/>
                </a:lnTo>
                <a:lnTo>
                  <a:pt x="5910332" y="1061898"/>
                </a:lnTo>
                <a:lnTo>
                  <a:pt x="5966338" y="994190"/>
                </a:lnTo>
                <a:lnTo>
                  <a:pt x="6023176" y="926917"/>
                </a:lnTo>
                <a:lnTo>
                  <a:pt x="6080870" y="860096"/>
                </a:lnTo>
                <a:lnTo>
                  <a:pt x="6139454" y="793746"/>
                </a:lnTo>
                <a:lnTo>
                  <a:pt x="6198948" y="727883"/>
                </a:lnTo>
                <a:lnTo>
                  <a:pt x="6259385" y="662525"/>
                </a:lnTo>
                <a:lnTo>
                  <a:pt x="6320788" y="597687"/>
                </a:lnTo>
                <a:lnTo>
                  <a:pt x="6383186" y="533390"/>
                </a:lnTo>
                <a:lnTo>
                  <a:pt x="6446606" y="469646"/>
                </a:lnTo>
                <a:lnTo>
                  <a:pt x="6511078" y="406478"/>
                </a:lnTo>
                <a:lnTo>
                  <a:pt x="6576626" y="343901"/>
                </a:lnTo>
                <a:lnTo>
                  <a:pt x="6643276" y="281931"/>
                </a:lnTo>
                <a:lnTo>
                  <a:pt x="6711060" y="220584"/>
                </a:lnTo>
                <a:lnTo>
                  <a:pt x="6780006" y="159882"/>
                </a:lnTo>
                <a:lnTo>
                  <a:pt x="6850134" y="99839"/>
                </a:lnTo>
                <a:lnTo>
                  <a:pt x="6921479" y="40471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94312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 - Navy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AE56E67-EB93-808B-7D49-EEC2BC3F6B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2109102"/>
            <a:ext cx="7155678" cy="678056"/>
          </a:xfrm>
          <a:prstGeom prst="rect">
            <a:avLst/>
          </a:prstGeom>
        </p:spPr>
        <p:txBody>
          <a:bodyPr anchor="ctr"/>
          <a:lstStyle>
            <a:lvl1pPr algn="l">
              <a:defRPr sz="5000" b="0">
                <a:solidFill>
                  <a:schemeClr val="bg1"/>
                </a:solidFill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Breaker B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A444AF-CC39-3D9A-F74E-D623763668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3089029"/>
            <a:ext cx="7156450" cy="811151"/>
          </a:xfrm>
          <a:prstGeom prst="rect">
            <a:avLst/>
          </a:prstGeom>
        </p:spPr>
        <p:txBody>
          <a:bodyPr anchor="ctr"/>
          <a:lstStyle>
            <a:lvl1pPr>
              <a:defRPr lang="en-US" sz="2400" b="0" kern="1200" dirty="0" smtClean="0">
                <a:solidFill>
                  <a:schemeClr val="bg1"/>
                </a:solidFill>
                <a:latin typeface="DM Sans" pitchFamily="2" charset="0"/>
                <a:ea typeface="+mj-ea"/>
                <a:cs typeface="DM Sans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DM Sans" pitchFamily="2" charset="0"/>
              <a:buNone/>
              <a:tabLst/>
              <a:defRPr/>
            </a:pPr>
            <a:r>
              <a:rPr lang="en-US"/>
              <a:t>This is a subhead for added messaging </a:t>
            </a:r>
            <a:br>
              <a:rPr lang="en-US"/>
            </a:br>
            <a:r>
              <a:rPr lang="en-US"/>
              <a:t>on a break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2353E37-2A68-0CBC-B93D-F0EFC342A6BB}"/>
              </a:ext>
            </a:extLst>
          </p:cNvPr>
          <p:cNvSpPr txBox="1"/>
          <p:nvPr userDrawn="1"/>
        </p:nvSpPr>
        <p:spPr>
          <a:xfrm>
            <a:off x="343110" y="6384784"/>
            <a:ext cx="400050" cy="244615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DM Sans" pitchFamily="2" charset="0"/>
              <a:buNone/>
              <a:defRPr sz="800">
                <a:solidFill>
                  <a:srgbClr val="40454D"/>
                </a:solidFill>
                <a:latin typeface="DM Sans" pitchFamily="2" charset="0"/>
                <a:cs typeface="DM Sans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9pPr>
          </a:lstStyle>
          <a:p>
            <a:pPr marL="0" lvl="0" indent="0"/>
            <a:fld id="{C67458B2-126D-41DF-9342-05EBD80CAE7A}" type="slidenum">
              <a:rPr lang="en-CA" smtClean="0">
                <a:solidFill>
                  <a:schemeClr val="bg1"/>
                </a:solidFill>
                <a:latin typeface="DM Sans" pitchFamily="2" charset="0"/>
              </a:rPr>
              <a:pPr marL="0" lvl="0" indent="0"/>
              <a:t>‹#›</a:t>
            </a:fld>
            <a:endParaRPr lang="en-CA">
              <a:solidFill>
                <a:schemeClr val="bg1"/>
              </a:solidFill>
              <a:latin typeface="DM Sans" pitchFamily="2" charset="0"/>
            </a:endParaRP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76F84E0B-791E-F03F-4005-BA6D253644B7}"/>
              </a:ext>
            </a:extLst>
          </p:cNvPr>
          <p:cNvSpPr/>
          <p:nvPr userDrawn="1"/>
        </p:nvSpPr>
        <p:spPr>
          <a:xfrm>
            <a:off x="5220454" y="6934"/>
            <a:ext cx="6971546" cy="6851067"/>
          </a:xfrm>
          <a:custGeom>
            <a:avLst/>
            <a:gdLst>
              <a:gd name="connsiteX0" fmla="*/ 6971546 w 6971546"/>
              <a:gd name="connsiteY0" fmla="*/ 0 h 6851067"/>
              <a:gd name="connsiteX1" fmla="*/ 6971546 w 6971546"/>
              <a:gd name="connsiteY1" fmla="*/ 2188516 h 6851067"/>
              <a:gd name="connsiteX2" fmla="*/ 6937991 w 6971546"/>
              <a:gd name="connsiteY2" fmla="*/ 2232665 h 6851067"/>
              <a:gd name="connsiteX3" fmla="*/ 6884304 w 6971546"/>
              <a:gd name="connsiteY3" fmla="*/ 2304872 h 6851067"/>
              <a:gd name="connsiteX4" fmla="*/ 6831236 w 6971546"/>
              <a:gd name="connsiteY4" fmla="*/ 2377761 h 6851067"/>
              <a:gd name="connsiteX5" fmla="*/ 6778740 w 6971546"/>
              <a:gd name="connsiteY5" fmla="*/ 2451318 h 6851067"/>
              <a:gd name="connsiteX6" fmla="*/ 6726770 w 6971546"/>
              <a:gd name="connsiteY6" fmla="*/ 2525520 h 6851067"/>
              <a:gd name="connsiteX7" fmla="*/ 6675289 w 6971546"/>
              <a:gd name="connsiteY7" fmla="*/ 2600359 h 6851067"/>
              <a:gd name="connsiteX8" fmla="*/ 6624246 w 6971546"/>
              <a:gd name="connsiteY8" fmla="*/ 2675810 h 6851067"/>
              <a:gd name="connsiteX9" fmla="*/ 6573602 w 6971546"/>
              <a:gd name="connsiteY9" fmla="*/ 2751863 h 6851067"/>
              <a:gd name="connsiteX10" fmla="*/ 6523311 w 6971546"/>
              <a:gd name="connsiteY10" fmla="*/ 2828495 h 6851067"/>
              <a:gd name="connsiteX11" fmla="*/ 6473328 w 6971546"/>
              <a:gd name="connsiteY11" fmla="*/ 2905694 h 6851067"/>
              <a:gd name="connsiteX12" fmla="*/ 6423610 w 6971546"/>
              <a:gd name="connsiteY12" fmla="*/ 2983438 h 6851067"/>
              <a:gd name="connsiteX13" fmla="*/ 6324797 w 6971546"/>
              <a:gd name="connsiteY13" fmla="*/ 3140510 h 6851067"/>
              <a:gd name="connsiteX14" fmla="*/ 6226516 w 6971546"/>
              <a:gd name="connsiteY14" fmla="*/ 3299569 h 6851067"/>
              <a:gd name="connsiteX15" fmla="*/ 6128416 w 6971546"/>
              <a:gd name="connsiteY15" fmla="*/ 3460487 h 6851067"/>
              <a:gd name="connsiteX16" fmla="*/ 5680557 w 6971546"/>
              <a:gd name="connsiteY16" fmla="*/ 4202845 h 6851067"/>
              <a:gd name="connsiteX17" fmla="*/ 5574376 w 6971546"/>
              <a:gd name="connsiteY17" fmla="*/ 4376013 h 6851067"/>
              <a:gd name="connsiteX18" fmla="*/ 5465287 w 6971546"/>
              <a:gd name="connsiteY18" fmla="*/ 4551238 h 6851067"/>
              <a:gd name="connsiteX19" fmla="*/ 5353584 w 6971546"/>
              <a:gd name="connsiteY19" fmla="*/ 4727228 h 6851067"/>
              <a:gd name="connsiteX20" fmla="*/ 5296844 w 6971546"/>
              <a:gd name="connsiteY20" fmla="*/ 4815108 h 6851067"/>
              <a:gd name="connsiteX21" fmla="*/ 5239559 w 6971546"/>
              <a:gd name="connsiteY21" fmla="*/ 4902699 h 6851067"/>
              <a:gd name="connsiteX22" fmla="*/ 5104496 w 6971546"/>
              <a:gd name="connsiteY22" fmla="*/ 5106135 h 6851067"/>
              <a:gd name="connsiteX23" fmla="*/ 5037875 w 6971546"/>
              <a:gd name="connsiteY23" fmla="*/ 5205072 h 6851067"/>
              <a:gd name="connsiteX24" fmla="*/ 4971784 w 6971546"/>
              <a:gd name="connsiteY24" fmla="*/ 5302175 h 6851067"/>
              <a:gd name="connsiteX25" fmla="*/ 4906170 w 6971546"/>
              <a:gd name="connsiteY25" fmla="*/ 5397459 h 6851067"/>
              <a:gd name="connsiteX26" fmla="*/ 4840972 w 6971546"/>
              <a:gd name="connsiteY26" fmla="*/ 5490944 h 6851067"/>
              <a:gd name="connsiteX27" fmla="*/ 4776142 w 6971546"/>
              <a:gd name="connsiteY27" fmla="*/ 5582643 h 6851067"/>
              <a:gd name="connsiteX28" fmla="*/ 4711617 w 6971546"/>
              <a:gd name="connsiteY28" fmla="*/ 5672575 h 6851067"/>
              <a:gd name="connsiteX29" fmla="*/ 4647346 w 6971546"/>
              <a:gd name="connsiteY29" fmla="*/ 5760752 h 6851067"/>
              <a:gd name="connsiteX30" fmla="*/ 4583268 w 6971546"/>
              <a:gd name="connsiteY30" fmla="*/ 5847192 h 6851067"/>
              <a:gd name="connsiteX31" fmla="*/ 4519332 w 6971546"/>
              <a:gd name="connsiteY31" fmla="*/ 5931910 h 6851067"/>
              <a:gd name="connsiteX32" fmla="*/ 4455479 w 6971546"/>
              <a:gd name="connsiteY32" fmla="*/ 6014925 h 6851067"/>
              <a:gd name="connsiteX33" fmla="*/ 4391654 w 6971546"/>
              <a:gd name="connsiteY33" fmla="*/ 6096252 h 6851067"/>
              <a:gd name="connsiteX34" fmla="*/ 4327800 w 6971546"/>
              <a:gd name="connsiteY34" fmla="*/ 6175907 h 6851067"/>
              <a:gd name="connsiteX35" fmla="*/ 4263864 w 6971546"/>
              <a:gd name="connsiteY35" fmla="*/ 6253905 h 6851067"/>
              <a:gd name="connsiteX36" fmla="*/ 4199787 w 6971546"/>
              <a:gd name="connsiteY36" fmla="*/ 6330264 h 6851067"/>
              <a:gd name="connsiteX37" fmla="*/ 4135512 w 6971546"/>
              <a:gd name="connsiteY37" fmla="*/ 6404997 h 6851067"/>
              <a:gd name="connsiteX38" fmla="*/ 4070987 w 6971546"/>
              <a:gd name="connsiteY38" fmla="*/ 6478124 h 6851067"/>
              <a:gd name="connsiteX39" fmla="*/ 4006156 w 6971546"/>
              <a:gd name="connsiteY39" fmla="*/ 6549659 h 6851067"/>
              <a:gd name="connsiteX40" fmla="*/ 3940959 w 6971546"/>
              <a:gd name="connsiteY40" fmla="*/ 6619617 h 6851067"/>
              <a:gd name="connsiteX41" fmla="*/ 3875340 w 6971546"/>
              <a:gd name="connsiteY41" fmla="*/ 6688018 h 6851067"/>
              <a:gd name="connsiteX42" fmla="*/ 3809247 w 6971546"/>
              <a:gd name="connsiteY42" fmla="*/ 6754872 h 6851067"/>
              <a:gd name="connsiteX43" fmla="*/ 3742623 w 6971546"/>
              <a:gd name="connsiteY43" fmla="*/ 6820201 h 6851067"/>
              <a:gd name="connsiteX44" fmla="*/ 3710117 w 6971546"/>
              <a:gd name="connsiteY44" fmla="*/ 6851067 h 6851067"/>
              <a:gd name="connsiteX45" fmla="*/ 0 w 6971546"/>
              <a:gd name="connsiteY45" fmla="*/ 6851067 h 6851067"/>
              <a:gd name="connsiteX46" fmla="*/ 84651 w 6971546"/>
              <a:gd name="connsiteY46" fmla="*/ 6841039 h 6851067"/>
              <a:gd name="connsiteX47" fmla="*/ 187667 w 6971546"/>
              <a:gd name="connsiteY47" fmla="*/ 6827649 h 6851067"/>
              <a:gd name="connsiteX48" fmla="*/ 288454 w 6971546"/>
              <a:gd name="connsiteY48" fmla="*/ 6813335 h 6851067"/>
              <a:gd name="connsiteX49" fmla="*/ 387054 w 6971546"/>
              <a:gd name="connsiteY49" fmla="*/ 6798091 h 6851067"/>
              <a:gd name="connsiteX50" fmla="*/ 483510 w 6971546"/>
              <a:gd name="connsiteY50" fmla="*/ 6781907 h 6851067"/>
              <a:gd name="connsiteX51" fmla="*/ 577862 w 6971546"/>
              <a:gd name="connsiteY51" fmla="*/ 6764777 h 6851067"/>
              <a:gd name="connsiteX52" fmla="*/ 670155 w 6971546"/>
              <a:gd name="connsiteY52" fmla="*/ 6746694 h 6851067"/>
              <a:gd name="connsiteX53" fmla="*/ 760426 w 6971546"/>
              <a:gd name="connsiteY53" fmla="*/ 6727651 h 6851067"/>
              <a:gd name="connsiteX54" fmla="*/ 848721 w 6971546"/>
              <a:gd name="connsiteY54" fmla="*/ 6707640 h 6851067"/>
              <a:gd name="connsiteX55" fmla="*/ 935082 w 6971546"/>
              <a:gd name="connsiteY55" fmla="*/ 6686654 h 6851067"/>
              <a:gd name="connsiteX56" fmla="*/ 1019547 w 6971546"/>
              <a:gd name="connsiteY56" fmla="*/ 6664685 h 6851067"/>
              <a:gd name="connsiteX57" fmla="*/ 1102163 w 6971546"/>
              <a:gd name="connsiteY57" fmla="*/ 6641728 h 6851067"/>
              <a:gd name="connsiteX58" fmla="*/ 1182964 w 6971546"/>
              <a:gd name="connsiteY58" fmla="*/ 6617771 h 6851067"/>
              <a:gd name="connsiteX59" fmla="*/ 1261998 w 6971546"/>
              <a:gd name="connsiteY59" fmla="*/ 6592813 h 6851067"/>
              <a:gd name="connsiteX60" fmla="*/ 1339308 w 6971546"/>
              <a:gd name="connsiteY60" fmla="*/ 6566841 h 6851067"/>
              <a:gd name="connsiteX61" fmla="*/ 1414933 w 6971546"/>
              <a:gd name="connsiteY61" fmla="*/ 6539851 h 6851067"/>
              <a:gd name="connsiteX62" fmla="*/ 1488915 w 6971546"/>
              <a:gd name="connsiteY62" fmla="*/ 6511834 h 6851067"/>
              <a:gd name="connsiteX63" fmla="*/ 1561294 w 6971546"/>
              <a:gd name="connsiteY63" fmla="*/ 6482785 h 6851067"/>
              <a:gd name="connsiteX64" fmla="*/ 1701419 w 6971546"/>
              <a:gd name="connsiteY64" fmla="*/ 6421557 h 6851067"/>
              <a:gd name="connsiteX65" fmla="*/ 1835646 w 6971546"/>
              <a:gd name="connsiteY65" fmla="*/ 6356106 h 6851067"/>
              <a:gd name="connsiteX66" fmla="*/ 1964300 w 6971546"/>
              <a:gd name="connsiteY66" fmla="*/ 6286377 h 6851067"/>
              <a:gd name="connsiteX67" fmla="*/ 2044136 w 6971546"/>
              <a:gd name="connsiteY67" fmla="*/ 6239342 h 6851067"/>
              <a:gd name="connsiteX68" fmla="*/ 2122044 w 6971546"/>
              <a:gd name="connsiteY68" fmla="*/ 6190495 h 6851067"/>
              <a:gd name="connsiteX69" fmla="*/ 2198142 w 6971546"/>
              <a:gd name="connsiteY69" fmla="*/ 6139825 h 6851067"/>
              <a:gd name="connsiteX70" fmla="*/ 2272539 w 6971546"/>
              <a:gd name="connsiteY70" fmla="*/ 6087312 h 6851067"/>
              <a:gd name="connsiteX71" fmla="*/ 2345345 w 6971546"/>
              <a:gd name="connsiteY71" fmla="*/ 6032942 h 6851067"/>
              <a:gd name="connsiteX72" fmla="*/ 2416678 w 6971546"/>
              <a:gd name="connsiteY72" fmla="*/ 5976697 h 6851067"/>
              <a:gd name="connsiteX73" fmla="*/ 2486647 w 6971546"/>
              <a:gd name="connsiteY73" fmla="*/ 5918565 h 6851067"/>
              <a:gd name="connsiteX74" fmla="*/ 2555365 w 6971546"/>
              <a:gd name="connsiteY74" fmla="*/ 5858528 h 6851067"/>
              <a:gd name="connsiteX75" fmla="*/ 2622945 w 6971546"/>
              <a:gd name="connsiteY75" fmla="*/ 5796570 h 6851067"/>
              <a:gd name="connsiteX76" fmla="*/ 2689497 w 6971546"/>
              <a:gd name="connsiteY76" fmla="*/ 5732675 h 6851067"/>
              <a:gd name="connsiteX77" fmla="*/ 2755136 w 6971546"/>
              <a:gd name="connsiteY77" fmla="*/ 5666828 h 6851067"/>
              <a:gd name="connsiteX78" fmla="*/ 2819971 w 6971546"/>
              <a:gd name="connsiteY78" fmla="*/ 5599013 h 6851067"/>
              <a:gd name="connsiteX79" fmla="*/ 2884121 w 6971546"/>
              <a:gd name="connsiteY79" fmla="*/ 5529215 h 6851067"/>
              <a:gd name="connsiteX80" fmla="*/ 2947691 w 6971546"/>
              <a:gd name="connsiteY80" fmla="*/ 5457417 h 6851067"/>
              <a:gd name="connsiteX81" fmla="*/ 3010801 w 6971546"/>
              <a:gd name="connsiteY81" fmla="*/ 5383602 h 6851067"/>
              <a:gd name="connsiteX82" fmla="*/ 3073554 w 6971546"/>
              <a:gd name="connsiteY82" fmla="*/ 5307756 h 6851067"/>
              <a:gd name="connsiteX83" fmla="*/ 3136071 w 6971546"/>
              <a:gd name="connsiteY83" fmla="*/ 5229864 h 6851067"/>
              <a:gd name="connsiteX84" fmla="*/ 3198459 w 6971546"/>
              <a:gd name="connsiteY84" fmla="*/ 5149908 h 6851067"/>
              <a:gd name="connsiteX85" fmla="*/ 3260834 w 6971546"/>
              <a:gd name="connsiteY85" fmla="*/ 5067873 h 6851067"/>
              <a:gd name="connsiteX86" fmla="*/ 3323306 w 6971546"/>
              <a:gd name="connsiteY86" fmla="*/ 4983744 h 6851067"/>
              <a:gd name="connsiteX87" fmla="*/ 3385990 w 6971546"/>
              <a:gd name="connsiteY87" fmla="*/ 4897504 h 6851067"/>
              <a:gd name="connsiteX88" fmla="*/ 3448996 w 6971546"/>
              <a:gd name="connsiteY88" fmla="*/ 4809138 h 6851067"/>
              <a:gd name="connsiteX89" fmla="*/ 3512436 w 6971546"/>
              <a:gd name="connsiteY89" fmla="*/ 4718631 h 6851067"/>
              <a:gd name="connsiteX90" fmla="*/ 3576424 w 6971546"/>
              <a:gd name="connsiteY90" fmla="*/ 4625966 h 6851067"/>
              <a:gd name="connsiteX91" fmla="*/ 3641071 w 6971546"/>
              <a:gd name="connsiteY91" fmla="*/ 4531128 h 6851067"/>
              <a:gd name="connsiteX92" fmla="*/ 3772797 w 6971546"/>
              <a:gd name="connsiteY92" fmla="*/ 4334864 h 6851067"/>
              <a:gd name="connsiteX93" fmla="*/ 3908511 w 6971546"/>
              <a:gd name="connsiteY93" fmla="*/ 4129718 h 6851067"/>
              <a:gd name="connsiteX94" fmla="*/ 3966217 w 6971546"/>
              <a:gd name="connsiteY94" fmla="*/ 4041379 h 6851067"/>
              <a:gd name="connsiteX95" fmla="*/ 4023348 w 6971546"/>
              <a:gd name="connsiteY95" fmla="*/ 3952716 h 6851067"/>
              <a:gd name="connsiteX96" fmla="*/ 4079928 w 6971546"/>
              <a:gd name="connsiteY96" fmla="*/ 3863805 h 6851067"/>
              <a:gd name="connsiteX97" fmla="*/ 4135986 w 6971546"/>
              <a:gd name="connsiteY97" fmla="*/ 3774719 h 6851067"/>
              <a:gd name="connsiteX98" fmla="*/ 4246624 w 6971546"/>
              <a:gd name="connsiteY98" fmla="*/ 3596319 h 6851067"/>
              <a:gd name="connsiteX99" fmla="*/ 4355472 w 6971546"/>
              <a:gd name="connsiteY99" fmla="*/ 3418120 h 6851067"/>
              <a:gd name="connsiteX100" fmla="*/ 4788690 w 6971546"/>
              <a:gd name="connsiteY100" fmla="*/ 2699836 h 6851067"/>
              <a:gd name="connsiteX101" fmla="*/ 4922636 w 6971546"/>
              <a:gd name="connsiteY101" fmla="*/ 2481041 h 6851067"/>
              <a:gd name="connsiteX102" fmla="*/ 5013172 w 6971546"/>
              <a:gd name="connsiteY102" fmla="*/ 2335521 h 6851067"/>
              <a:gd name="connsiteX103" fmla="*/ 5104952 w 6971546"/>
              <a:gd name="connsiteY103" fmla="*/ 2190436 h 6851067"/>
              <a:gd name="connsiteX104" fmla="*/ 5198200 w 6971546"/>
              <a:gd name="connsiteY104" fmla="*/ 2045920 h 6851067"/>
              <a:gd name="connsiteX105" fmla="*/ 5293132 w 6971546"/>
              <a:gd name="connsiteY105" fmla="*/ 1902114 h 6851067"/>
              <a:gd name="connsiteX106" fmla="*/ 5341296 w 6971546"/>
              <a:gd name="connsiteY106" fmla="*/ 1830521 h 6851067"/>
              <a:gd name="connsiteX107" fmla="*/ 5389964 w 6971546"/>
              <a:gd name="connsiteY107" fmla="*/ 1759157 h 6851067"/>
              <a:gd name="connsiteX108" fmla="*/ 5439162 w 6971546"/>
              <a:gd name="connsiteY108" fmla="*/ 1688039 h 6851067"/>
              <a:gd name="connsiteX109" fmla="*/ 5488921 w 6971546"/>
              <a:gd name="connsiteY109" fmla="*/ 1617184 h 6851067"/>
              <a:gd name="connsiteX110" fmla="*/ 5539262 w 6971546"/>
              <a:gd name="connsiteY110" fmla="*/ 1546611 h 6851067"/>
              <a:gd name="connsiteX111" fmla="*/ 5590216 w 6971546"/>
              <a:gd name="connsiteY111" fmla="*/ 1476334 h 6851067"/>
              <a:gd name="connsiteX112" fmla="*/ 5641810 w 6971546"/>
              <a:gd name="connsiteY112" fmla="*/ 1406373 h 6851067"/>
              <a:gd name="connsiteX113" fmla="*/ 5694072 w 6971546"/>
              <a:gd name="connsiteY113" fmla="*/ 1336745 h 6851067"/>
              <a:gd name="connsiteX114" fmla="*/ 5747026 w 6971546"/>
              <a:gd name="connsiteY114" fmla="*/ 1267466 h 6851067"/>
              <a:gd name="connsiteX115" fmla="*/ 5800703 w 6971546"/>
              <a:gd name="connsiteY115" fmla="*/ 1198553 h 6851067"/>
              <a:gd name="connsiteX116" fmla="*/ 5855129 w 6971546"/>
              <a:gd name="connsiteY116" fmla="*/ 1130025 h 6851067"/>
              <a:gd name="connsiteX117" fmla="*/ 5910332 w 6971546"/>
              <a:gd name="connsiteY117" fmla="*/ 1061898 h 6851067"/>
              <a:gd name="connsiteX118" fmla="*/ 5966338 w 6971546"/>
              <a:gd name="connsiteY118" fmla="*/ 994190 h 6851067"/>
              <a:gd name="connsiteX119" fmla="*/ 6023176 w 6971546"/>
              <a:gd name="connsiteY119" fmla="*/ 926917 h 6851067"/>
              <a:gd name="connsiteX120" fmla="*/ 6080870 w 6971546"/>
              <a:gd name="connsiteY120" fmla="*/ 860096 h 6851067"/>
              <a:gd name="connsiteX121" fmla="*/ 6139454 w 6971546"/>
              <a:gd name="connsiteY121" fmla="*/ 793746 h 6851067"/>
              <a:gd name="connsiteX122" fmla="*/ 6198948 w 6971546"/>
              <a:gd name="connsiteY122" fmla="*/ 727883 h 6851067"/>
              <a:gd name="connsiteX123" fmla="*/ 6259385 w 6971546"/>
              <a:gd name="connsiteY123" fmla="*/ 662525 h 6851067"/>
              <a:gd name="connsiteX124" fmla="*/ 6320788 w 6971546"/>
              <a:gd name="connsiteY124" fmla="*/ 597687 h 6851067"/>
              <a:gd name="connsiteX125" fmla="*/ 6383186 w 6971546"/>
              <a:gd name="connsiteY125" fmla="*/ 533390 h 6851067"/>
              <a:gd name="connsiteX126" fmla="*/ 6446606 w 6971546"/>
              <a:gd name="connsiteY126" fmla="*/ 469646 h 6851067"/>
              <a:gd name="connsiteX127" fmla="*/ 6511078 w 6971546"/>
              <a:gd name="connsiteY127" fmla="*/ 406478 h 6851067"/>
              <a:gd name="connsiteX128" fmla="*/ 6576626 w 6971546"/>
              <a:gd name="connsiteY128" fmla="*/ 343901 h 6851067"/>
              <a:gd name="connsiteX129" fmla="*/ 6643276 w 6971546"/>
              <a:gd name="connsiteY129" fmla="*/ 281931 h 6851067"/>
              <a:gd name="connsiteX130" fmla="*/ 6711060 w 6971546"/>
              <a:gd name="connsiteY130" fmla="*/ 220584 h 6851067"/>
              <a:gd name="connsiteX131" fmla="*/ 6780006 w 6971546"/>
              <a:gd name="connsiteY131" fmla="*/ 159882 h 6851067"/>
              <a:gd name="connsiteX132" fmla="*/ 6850134 w 6971546"/>
              <a:gd name="connsiteY132" fmla="*/ 99839 h 6851067"/>
              <a:gd name="connsiteX133" fmla="*/ 6921479 w 6971546"/>
              <a:gd name="connsiteY133" fmla="*/ 40471 h 6851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6971546" h="6851067">
                <a:moveTo>
                  <a:pt x="6971546" y="0"/>
                </a:moveTo>
                <a:lnTo>
                  <a:pt x="6971546" y="2188516"/>
                </a:lnTo>
                <a:lnTo>
                  <a:pt x="6937991" y="2232665"/>
                </a:lnTo>
                <a:lnTo>
                  <a:pt x="6884304" y="2304872"/>
                </a:lnTo>
                <a:lnTo>
                  <a:pt x="6831236" y="2377761"/>
                </a:lnTo>
                <a:lnTo>
                  <a:pt x="6778740" y="2451318"/>
                </a:lnTo>
                <a:lnTo>
                  <a:pt x="6726770" y="2525520"/>
                </a:lnTo>
                <a:lnTo>
                  <a:pt x="6675289" y="2600359"/>
                </a:lnTo>
                <a:lnTo>
                  <a:pt x="6624246" y="2675810"/>
                </a:lnTo>
                <a:lnTo>
                  <a:pt x="6573602" y="2751863"/>
                </a:lnTo>
                <a:lnTo>
                  <a:pt x="6523311" y="2828495"/>
                </a:lnTo>
                <a:lnTo>
                  <a:pt x="6473328" y="2905694"/>
                </a:lnTo>
                <a:lnTo>
                  <a:pt x="6423610" y="2983438"/>
                </a:lnTo>
                <a:lnTo>
                  <a:pt x="6324797" y="3140510"/>
                </a:lnTo>
                <a:lnTo>
                  <a:pt x="6226516" y="3299569"/>
                </a:lnTo>
                <a:lnTo>
                  <a:pt x="6128416" y="3460487"/>
                </a:lnTo>
                <a:lnTo>
                  <a:pt x="5680557" y="4202845"/>
                </a:lnTo>
                <a:lnTo>
                  <a:pt x="5574376" y="4376013"/>
                </a:lnTo>
                <a:lnTo>
                  <a:pt x="5465287" y="4551238"/>
                </a:lnTo>
                <a:lnTo>
                  <a:pt x="5353584" y="4727228"/>
                </a:lnTo>
                <a:lnTo>
                  <a:pt x="5296844" y="4815108"/>
                </a:lnTo>
                <a:lnTo>
                  <a:pt x="5239559" y="4902699"/>
                </a:lnTo>
                <a:lnTo>
                  <a:pt x="5104496" y="5106135"/>
                </a:lnTo>
                <a:lnTo>
                  <a:pt x="5037875" y="5205072"/>
                </a:lnTo>
                <a:lnTo>
                  <a:pt x="4971784" y="5302175"/>
                </a:lnTo>
                <a:lnTo>
                  <a:pt x="4906170" y="5397459"/>
                </a:lnTo>
                <a:lnTo>
                  <a:pt x="4840972" y="5490944"/>
                </a:lnTo>
                <a:lnTo>
                  <a:pt x="4776142" y="5582643"/>
                </a:lnTo>
                <a:lnTo>
                  <a:pt x="4711617" y="5672575"/>
                </a:lnTo>
                <a:lnTo>
                  <a:pt x="4647346" y="5760752"/>
                </a:lnTo>
                <a:lnTo>
                  <a:pt x="4583268" y="5847192"/>
                </a:lnTo>
                <a:lnTo>
                  <a:pt x="4519332" y="5931910"/>
                </a:lnTo>
                <a:lnTo>
                  <a:pt x="4455479" y="6014925"/>
                </a:lnTo>
                <a:lnTo>
                  <a:pt x="4391654" y="6096252"/>
                </a:lnTo>
                <a:lnTo>
                  <a:pt x="4327800" y="6175907"/>
                </a:lnTo>
                <a:lnTo>
                  <a:pt x="4263864" y="6253905"/>
                </a:lnTo>
                <a:lnTo>
                  <a:pt x="4199787" y="6330264"/>
                </a:lnTo>
                <a:lnTo>
                  <a:pt x="4135512" y="6404997"/>
                </a:lnTo>
                <a:lnTo>
                  <a:pt x="4070987" y="6478124"/>
                </a:lnTo>
                <a:lnTo>
                  <a:pt x="4006156" y="6549659"/>
                </a:lnTo>
                <a:lnTo>
                  <a:pt x="3940959" y="6619617"/>
                </a:lnTo>
                <a:lnTo>
                  <a:pt x="3875340" y="6688018"/>
                </a:lnTo>
                <a:lnTo>
                  <a:pt x="3809247" y="6754872"/>
                </a:lnTo>
                <a:lnTo>
                  <a:pt x="3742623" y="6820201"/>
                </a:lnTo>
                <a:lnTo>
                  <a:pt x="3710117" y="6851067"/>
                </a:lnTo>
                <a:lnTo>
                  <a:pt x="0" y="6851067"/>
                </a:lnTo>
                <a:lnTo>
                  <a:pt x="84651" y="6841039"/>
                </a:lnTo>
                <a:lnTo>
                  <a:pt x="187667" y="6827649"/>
                </a:lnTo>
                <a:lnTo>
                  <a:pt x="288454" y="6813335"/>
                </a:lnTo>
                <a:lnTo>
                  <a:pt x="387054" y="6798091"/>
                </a:lnTo>
                <a:lnTo>
                  <a:pt x="483510" y="6781907"/>
                </a:lnTo>
                <a:lnTo>
                  <a:pt x="577862" y="6764777"/>
                </a:lnTo>
                <a:lnTo>
                  <a:pt x="670155" y="6746694"/>
                </a:lnTo>
                <a:lnTo>
                  <a:pt x="760426" y="6727651"/>
                </a:lnTo>
                <a:lnTo>
                  <a:pt x="848721" y="6707640"/>
                </a:lnTo>
                <a:lnTo>
                  <a:pt x="935082" y="6686654"/>
                </a:lnTo>
                <a:lnTo>
                  <a:pt x="1019547" y="6664685"/>
                </a:lnTo>
                <a:lnTo>
                  <a:pt x="1102163" y="6641728"/>
                </a:lnTo>
                <a:lnTo>
                  <a:pt x="1182964" y="6617771"/>
                </a:lnTo>
                <a:lnTo>
                  <a:pt x="1261998" y="6592813"/>
                </a:lnTo>
                <a:lnTo>
                  <a:pt x="1339308" y="6566841"/>
                </a:lnTo>
                <a:lnTo>
                  <a:pt x="1414933" y="6539851"/>
                </a:lnTo>
                <a:lnTo>
                  <a:pt x="1488915" y="6511834"/>
                </a:lnTo>
                <a:lnTo>
                  <a:pt x="1561294" y="6482785"/>
                </a:lnTo>
                <a:lnTo>
                  <a:pt x="1701419" y="6421557"/>
                </a:lnTo>
                <a:lnTo>
                  <a:pt x="1835646" y="6356106"/>
                </a:lnTo>
                <a:lnTo>
                  <a:pt x="1964300" y="6286377"/>
                </a:lnTo>
                <a:lnTo>
                  <a:pt x="2044136" y="6239342"/>
                </a:lnTo>
                <a:lnTo>
                  <a:pt x="2122044" y="6190495"/>
                </a:lnTo>
                <a:lnTo>
                  <a:pt x="2198142" y="6139825"/>
                </a:lnTo>
                <a:lnTo>
                  <a:pt x="2272539" y="6087312"/>
                </a:lnTo>
                <a:lnTo>
                  <a:pt x="2345345" y="6032942"/>
                </a:lnTo>
                <a:lnTo>
                  <a:pt x="2416678" y="5976697"/>
                </a:lnTo>
                <a:lnTo>
                  <a:pt x="2486647" y="5918565"/>
                </a:lnTo>
                <a:lnTo>
                  <a:pt x="2555365" y="5858528"/>
                </a:lnTo>
                <a:lnTo>
                  <a:pt x="2622945" y="5796570"/>
                </a:lnTo>
                <a:lnTo>
                  <a:pt x="2689497" y="5732675"/>
                </a:lnTo>
                <a:lnTo>
                  <a:pt x="2755136" y="5666828"/>
                </a:lnTo>
                <a:lnTo>
                  <a:pt x="2819971" y="5599013"/>
                </a:lnTo>
                <a:lnTo>
                  <a:pt x="2884121" y="5529215"/>
                </a:lnTo>
                <a:lnTo>
                  <a:pt x="2947691" y="5457417"/>
                </a:lnTo>
                <a:lnTo>
                  <a:pt x="3010801" y="5383602"/>
                </a:lnTo>
                <a:lnTo>
                  <a:pt x="3073554" y="5307756"/>
                </a:lnTo>
                <a:lnTo>
                  <a:pt x="3136071" y="5229864"/>
                </a:lnTo>
                <a:lnTo>
                  <a:pt x="3198459" y="5149908"/>
                </a:lnTo>
                <a:lnTo>
                  <a:pt x="3260834" y="5067873"/>
                </a:lnTo>
                <a:lnTo>
                  <a:pt x="3323306" y="4983744"/>
                </a:lnTo>
                <a:lnTo>
                  <a:pt x="3385990" y="4897504"/>
                </a:lnTo>
                <a:lnTo>
                  <a:pt x="3448996" y="4809138"/>
                </a:lnTo>
                <a:lnTo>
                  <a:pt x="3512436" y="4718631"/>
                </a:lnTo>
                <a:lnTo>
                  <a:pt x="3576424" y="4625966"/>
                </a:lnTo>
                <a:lnTo>
                  <a:pt x="3641071" y="4531128"/>
                </a:lnTo>
                <a:lnTo>
                  <a:pt x="3772797" y="4334864"/>
                </a:lnTo>
                <a:lnTo>
                  <a:pt x="3908511" y="4129718"/>
                </a:lnTo>
                <a:lnTo>
                  <a:pt x="3966217" y="4041379"/>
                </a:lnTo>
                <a:lnTo>
                  <a:pt x="4023348" y="3952716"/>
                </a:lnTo>
                <a:lnTo>
                  <a:pt x="4079928" y="3863805"/>
                </a:lnTo>
                <a:lnTo>
                  <a:pt x="4135986" y="3774719"/>
                </a:lnTo>
                <a:lnTo>
                  <a:pt x="4246624" y="3596319"/>
                </a:lnTo>
                <a:lnTo>
                  <a:pt x="4355472" y="3418120"/>
                </a:lnTo>
                <a:lnTo>
                  <a:pt x="4788690" y="2699836"/>
                </a:lnTo>
                <a:lnTo>
                  <a:pt x="4922636" y="2481041"/>
                </a:lnTo>
                <a:lnTo>
                  <a:pt x="5013172" y="2335521"/>
                </a:lnTo>
                <a:lnTo>
                  <a:pt x="5104952" y="2190436"/>
                </a:lnTo>
                <a:lnTo>
                  <a:pt x="5198200" y="2045920"/>
                </a:lnTo>
                <a:lnTo>
                  <a:pt x="5293132" y="1902114"/>
                </a:lnTo>
                <a:lnTo>
                  <a:pt x="5341296" y="1830521"/>
                </a:lnTo>
                <a:lnTo>
                  <a:pt x="5389964" y="1759157"/>
                </a:lnTo>
                <a:lnTo>
                  <a:pt x="5439162" y="1688039"/>
                </a:lnTo>
                <a:lnTo>
                  <a:pt x="5488921" y="1617184"/>
                </a:lnTo>
                <a:lnTo>
                  <a:pt x="5539262" y="1546611"/>
                </a:lnTo>
                <a:lnTo>
                  <a:pt x="5590216" y="1476334"/>
                </a:lnTo>
                <a:lnTo>
                  <a:pt x="5641810" y="1406373"/>
                </a:lnTo>
                <a:lnTo>
                  <a:pt x="5694072" y="1336745"/>
                </a:lnTo>
                <a:lnTo>
                  <a:pt x="5747026" y="1267466"/>
                </a:lnTo>
                <a:lnTo>
                  <a:pt x="5800703" y="1198553"/>
                </a:lnTo>
                <a:lnTo>
                  <a:pt x="5855129" y="1130025"/>
                </a:lnTo>
                <a:lnTo>
                  <a:pt x="5910332" y="1061898"/>
                </a:lnTo>
                <a:lnTo>
                  <a:pt x="5966338" y="994190"/>
                </a:lnTo>
                <a:lnTo>
                  <a:pt x="6023176" y="926917"/>
                </a:lnTo>
                <a:lnTo>
                  <a:pt x="6080870" y="860096"/>
                </a:lnTo>
                <a:lnTo>
                  <a:pt x="6139454" y="793746"/>
                </a:lnTo>
                <a:lnTo>
                  <a:pt x="6198948" y="727883"/>
                </a:lnTo>
                <a:lnTo>
                  <a:pt x="6259385" y="662525"/>
                </a:lnTo>
                <a:lnTo>
                  <a:pt x="6320788" y="597687"/>
                </a:lnTo>
                <a:lnTo>
                  <a:pt x="6383186" y="533390"/>
                </a:lnTo>
                <a:lnTo>
                  <a:pt x="6446606" y="469646"/>
                </a:lnTo>
                <a:lnTo>
                  <a:pt x="6511078" y="406478"/>
                </a:lnTo>
                <a:lnTo>
                  <a:pt x="6576626" y="343901"/>
                </a:lnTo>
                <a:lnTo>
                  <a:pt x="6643276" y="281931"/>
                </a:lnTo>
                <a:lnTo>
                  <a:pt x="6711060" y="220584"/>
                </a:lnTo>
                <a:lnTo>
                  <a:pt x="6780006" y="159882"/>
                </a:lnTo>
                <a:lnTo>
                  <a:pt x="6850134" y="99839"/>
                </a:lnTo>
                <a:lnTo>
                  <a:pt x="6921479" y="40471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050352-1A7A-ED93-035F-58D847846DE1}"/>
              </a:ext>
            </a:extLst>
          </p:cNvPr>
          <p:cNvSpPr/>
          <p:nvPr userDrawn="1"/>
        </p:nvSpPr>
        <p:spPr>
          <a:xfrm>
            <a:off x="9894013" y="5949538"/>
            <a:ext cx="2219218" cy="9084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F98494-304A-B3F3-5837-35CEC2FAE2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070275" y="6049534"/>
            <a:ext cx="1860962" cy="579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68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22C3E13-958F-A0D8-CC5F-F357058A01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669" y="0"/>
            <a:ext cx="4755963" cy="228049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F13BECD-6159-01CF-B14A-E24AEAF858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3166946"/>
            <a:ext cx="7155678" cy="678056"/>
          </a:xfrm>
          <a:prstGeom prst="rect">
            <a:avLst/>
          </a:prstGeom>
        </p:spPr>
        <p:txBody>
          <a:bodyPr anchor="ctr"/>
          <a:lstStyle>
            <a:lvl1pPr algn="l">
              <a:defRPr sz="5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Breaker A tit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2F070C4-A55A-57CC-B2F9-24B5AC3F66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146873"/>
            <a:ext cx="7156450" cy="811151"/>
          </a:xfrm>
          <a:prstGeom prst="rect">
            <a:avLst/>
          </a:prstGeom>
        </p:spPr>
        <p:txBody>
          <a:bodyPr anchor="ctr"/>
          <a:lstStyle>
            <a:lvl1pPr>
              <a:defRPr lang="en-US" sz="2400" b="0" kern="1200" dirty="0" smtClean="0">
                <a:solidFill>
                  <a:srgbClr val="40454D"/>
                </a:solidFill>
                <a:latin typeface="DM Sans" pitchFamily="2" charset="0"/>
                <a:ea typeface="+mj-ea"/>
                <a:cs typeface="DM Sans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DM Sans" pitchFamily="2" charset="0"/>
              <a:buNone/>
              <a:tabLst/>
              <a:defRPr/>
            </a:pPr>
            <a:r>
              <a:rPr lang="en-US"/>
              <a:t>This is a subhead for added messaging </a:t>
            </a:r>
            <a:br>
              <a:rPr lang="en-US"/>
            </a:br>
            <a:r>
              <a:rPr lang="en-US"/>
              <a:t>on a breaker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3E5A5FEA-37E1-7FCB-52D8-3AA0DB5A9CE3}"/>
              </a:ext>
            </a:extLst>
          </p:cNvPr>
          <p:cNvSpPr/>
          <p:nvPr userDrawn="1"/>
        </p:nvSpPr>
        <p:spPr>
          <a:xfrm>
            <a:off x="5220454" y="6934"/>
            <a:ext cx="6971546" cy="6851067"/>
          </a:xfrm>
          <a:custGeom>
            <a:avLst/>
            <a:gdLst>
              <a:gd name="connsiteX0" fmla="*/ 6971546 w 6971546"/>
              <a:gd name="connsiteY0" fmla="*/ 0 h 6851067"/>
              <a:gd name="connsiteX1" fmla="*/ 6971546 w 6971546"/>
              <a:gd name="connsiteY1" fmla="*/ 2188516 h 6851067"/>
              <a:gd name="connsiteX2" fmla="*/ 6937991 w 6971546"/>
              <a:gd name="connsiteY2" fmla="*/ 2232665 h 6851067"/>
              <a:gd name="connsiteX3" fmla="*/ 6884304 w 6971546"/>
              <a:gd name="connsiteY3" fmla="*/ 2304872 h 6851067"/>
              <a:gd name="connsiteX4" fmla="*/ 6831236 w 6971546"/>
              <a:gd name="connsiteY4" fmla="*/ 2377761 h 6851067"/>
              <a:gd name="connsiteX5" fmla="*/ 6778740 w 6971546"/>
              <a:gd name="connsiteY5" fmla="*/ 2451318 h 6851067"/>
              <a:gd name="connsiteX6" fmla="*/ 6726770 w 6971546"/>
              <a:gd name="connsiteY6" fmla="*/ 2525520 h 6851067"/>
              <a:gd name="connsiteX7" fmla="*/ 6675289 w 6971546"/>
              <a:gd name="connsiteY7" fmla="*/ 2600359 h 6851067"/>
              <a:gd name="connsiteX8" fmla="*/ 6624246 w 6971546"/>
              <a:gd name="connsiteY8" fmla="*/ 2675810 h 6851067"/>
              <a:gd name="connsiteX9" fmla="*/ 6573602 w 6971546"/>
              <a:gd name="connsiteY9" fmla="*/ 2751863 h 6851067"/>
              <a:gd name="connsiteX10" fmla="*/ 6523311 w 6971546"/>
              <a:gd name="connsiteY10" fmla="*/ 2828495 h 6851067"/>
              <a:gd name="connsiteX11" fmla="*/ 6473328 w 6971546"/>
              <a:gd name="connsiteY11" fmla="*/ 2905694 h 6851067"/>
              <a:gd name="connsiteX12" fmla="*/ 6423610 w 6971546"/>
              <a:gd name="connsiteY12" fmla="*/ 2983438 h 6851067"/>
              <a:gd name="connsiteX13" fmla="*/ 6324797 w 6971546"/>
              <a:gd name="connsiteY13" fmla="*/ 3140510 h 6851067"/>
              <a:gd name="connsiteX14" fmla="*/ 6226516 w 6971546"/>
              <a:gd name="connsiteY14" fmla="*/ 3299569 h 6851067"/>
              <a:gd name="connsiteX15" fmla="*/ 6128416 w 6971546"/>
              <a:gd name="connsiteY15" fmla="*/ 3460487 h 6851067"/>
              <a:gd name="connsiteX16" fmla="*/ 5680557 w 6971546"/>
              <a:gd name="connsiteY16" fmla="*/ 4202845 h 6851067"/>
              <a:gd name="connsiteX17" fmla="*/ 5574376 w 6971546"/>
              <a:gd name="connsiteY17" fmla="*/ 4376013 h 6851067"/>
              <a:gd name="connsiteX18" fmla="*/ 5465287 w 6971546"/>
              <a:gd name="connsiteY18" fmla="*/ 4551238 h 6851067"/>
              <a:gd name="connsiteX19" fmla="*/ 5353584 w 6971546"/>
              <a:gd name="connsiteY19" fmla="*/ 4727228 h 6851067"/>
              <a:gd name="connsiteX20" fmla="*/ 5296844 w 6971546"/>
              <a:gd name="connsiteY20" fmla="*/ 4815108 h 6851067"/>
              <a:gd name="connsiteX21" fmla="*/ 5239559 w 6971546"/>
              <a:gd name="connsiteY21" fmla="*/ 4902699 h 6851067"/>
              <a:gd name="connsiteX22" fmla="*/ 5104496 w 6971546"/>
              <a:gd name="connsiteY22" fmla="*/ 5106135 h 6851067"/>
              <a:gd name="connsiteX23" fmla="*/ 5037875 w 6971546"/>
              <a:gd name="connsiteY23" fmla="*/ 5205072 h 6851067"/>
              <a:gd name="connsiteX24" fmla="*/ 4971784 w 6971546"/>
              <a:gd name="connsiteY24" fmla="*/ 5302175 h 6851067"/>
              <a:gd name="connsiteX25" fmla="*/ 4906170 w 6971546"/>
              <a:gd name="connsiteY25" fmla="*/ 5397459 h 6851067"/>
              <a:gd name="connsiteX26" fmla="*/ 4840972 w 6971546"/>
              <a:gd name="connsiteY26" fmla="*/ 5490944 h 6851067"/>
              <a:gd name="connsiteX27" fmla="*/ 4776142 w 6971546"/>
              <a:gd name="connsiteY27" fmla="*/ 5582643 h 6851067"/>
              <a:gd name="connsiteX28" fmla="*/ 4711617 w 6971546"/>
              <a:gd name="connsiteY28" fmla="*/ 5672575 h 6851067"/>
              <a:gd name="connsiteX29" fmla="*/ 4647346 w 6971546"/>
              <a:gd name="connsiteY29" fmla="*/ 5760752 h 6851067"/>
              <a:gd name="connsiteX30" fmla="*/ 4583268 w 6971546"/>
              <a:gd name="connsiteY30" fmla="*/ 5847192 h 6851067"/>
              <a:gd name="connsiteX31" fmla="*/ 4519332 w 6971546"/>
              <a:gd name="connsiteY31" fmla="*/ 5931910 h 6851067"/>
              <a:gd name="connsiteX32" fmla="*/ 4455479 w 6971546"/>
              <a:gd name="connsiteY32" fmla="*/ 6014925 h 6851067"/>
              <a:gd name="connsiteX33" fmla="*/ 4391654 w 6971546"/>
              <a:gd name="connsiteY33" fmla="*/ 6096252 h 6851067"/>
              <a:gd name="connsiteX34" fmla="*/ 4327800 w 6971546"/>
              <a:gd name="connsiteY34" fmla="*/ 6175907 h 6851067"/>
              <a:gd name="connsiteX35" fmla="*/ 4263864 w 6971546"/>
              <a:gd name="connsiteY35" fmla="*/ 6253905 h 6851067"/>
              <a:gd name="connsiteX36" fmla="*/ 4199787 w 6971546"/>
              <a:gd name="connsiteY36" fmla="*/ 6330264 h 6851067"/>
              <a:gd name="connsiteX37" fmla="*/ 4135512 w 6971546"/>
              <a:gd name="connsiteY37" fmla="*/ 6404997 h 6851067"/>
              <a:gd name="connsiteX38" fmla="*/ 4070987 w 6971546"/>
              <a:gd name="connsiteY38" fmla="*/ 6478124 h 6851067"/>
              <a:gd name="connsiteX39" fmla="*/ 4006156 w 6971546"/>
              <a:gd name="connsiteY39" fmla="*/ 6549659 h 6851067"/>
              <a:gd name="connsiteX40" fmla="*/ 3940959 w 6971546"/>
              <a:gd name="connsiteY40" fmla="*/ 6619617 h 6851067"/>
              <a:gd name="connsiteX41" fmla="*/ 3875340 w 6971546"/>
              <a:gd name="connsiteY41" fmla="*/ 6688018 h 6851067"/>
              <a:gd name="connsiteX42" fmla="*/ 3809247 w 6971546"/>
              <a:gd name="connsiteY42" fmla="*/ 6754872 h 6851067"/>
              <a:gd name="connsiteX43" fmla="*/ 3742623 w 6971546"/>
              <a:gd name="connsiteY43" fmla="*/ 6820201 h 6851067"/>
              <a:gd name="connsiteX44" fmla="*/ 3710117 w 6971546"/>
              <a:gd name="connsiteY44" fmla="*/ 6851067 h 6851067"/>
              <a:gd name="connsiteX45" fmla="*/ 0 w 6971546"/>
              <a:gd name="connsiteY45" fmla="*/ 6851067 h 6851067"/>
              <a:gd name="connsiteX46" fmla="*/ 84651 w 6971546"/>
              <a:gd name="connsiteY46" fmla="*/ 6841039 h 6851067"/>
              <a:gd name="connsiteX47" fmla="*/ 187667 w 6971546"/>
              <a:gd name="connsiteY47" fmla="*/ 6827649 h 6851067"/>
              <a:gd name="connsiteX48" fmla="*/ 288454 w 6971546"/>
              <a:gd name="connsiteY48" fmla="*/ 6813335 h 6851067"/>
              <a:gd name="connsiteX49" fmla="*/ 387054 w 6971546"/>
              <a:gd name="connsiteY49" fmla="*/ 6798091 h 6851067"/>
              <a:gd name="connsiteX50" fmla="*/ 483510 w 6971546"/>
              <a:gd name="connsiteY50" fmla="*/ 6781907 h 6851067"/>
              <a:gd name="connsiteX51" fmla="*/ 577862 w 6971546"/>
              <a:gd name="connsiteY51" fmla="*/ 6764777 h 6851067"/>
              <a:gd name="connsiteX52" fmla="*/ 670155 w 6971546"/>
              <a:gd name="connsiteY52" fmla="*/ 6746694 h 6851067"/>
              <a:gd name="connsiteX53" fmla="*/ 760426 w 6971546"/>
              <a:gd name="connsiteY53" fmla="*/ 6727651 h 6851067"/>
              <a:gd name="connsiteX54" fmla="*/ 848721 w 6971546"/>
              <a:gd name="connsiteY54" fmla="*/ 6707640 h 6851067"/>
              <a:gd name="connsiteX55" fmla="*/ 935082 w 6971546"/>
              <a:gd name="connsiteY55" fmla="*/ 6686654 h 6851067"/>
              <a:gd name="connsiteX56" fmla="*/ 1019547 w 6971546"/>
              <a:gd name="connsiteY56" fmla="*/ 6664685 h 6851067"/>
              <a:gd name="connsiteX57" fmla="*/ 1102163 w 6971546"/>
              <a:gd name="connsiteY57" fmla="*/ 6641728 h 6851067"/>
              <a:gd name="connsiteX58" fmla="*/ 1182964 w 6971546"/>
              <a:gd name="connsiteY58" fmla="*/ 6617771 h 6851067"/>
              <a:gd name="connsiteX59" fmla="*/ 1261998 w 6971546"/>
              <a:gd name="connsiteY59" fmla="*/ 6592813 h 6851067"/>
              <a:gd name="connsiteX60" fmla="*/ 1339308 w 6971546"/>
              <a:gd name="connsiteY60" fmla="*/ 6566841 h 6851067"/>
              <a:gd name="connsiteX61" fmla="*/ 1414933 w 6971546"/>
              <a:gd name="connsiteY61" fmla="*/ 6539851 h 6851067"/>
              <a:gd name="connsiteX62" fmla="*/ 1488915 w 6971546"/>
              <a:gd name="connsiteY62" fmla="*/ 6511834 h 6851067"/>
              <a:gd name="connsiteX63" fmla="*/ 1561294 w 6971546"/>
              <a:gd name="connsiteY63" fmla="*/ 6482785 h 6851067"/>
              <a:gd name="connsiteX64" fmla="*/ 1701419 w 6971546"/>
              <a:gd name="connsiteY64" fmla="*/ 6421557 h 6851067"/>
              <a:gd name="connsiteX65" fmla="*/ 1835646 w 6971546"/>
              <a:gd name="connsiteY65" fmla="*/ 6356106 h 6851067"/>
              <a:gd name="connsiteX66" fmla="*/ 1964300 w 6971546"/>
              <a:gd name="connsiteY66" fmla="*/ 6286377 h 6851067"/>
              <a:gd name="connsiteX67" fmla="*/ 2044136 w 6971546"/>
              <a:gd name="connsiteY67" fmla="*/ 6239342 h 6851067"/>
              <a:gd name="connsiteX68" fmla="*/ 2122044 w 6971546"/>
              <a:gd name="connsiteY68" fmla="*/ 6190495 h 6851067"/>
              <a:gd name="connsiteX69" fmla="*/ 2198142 w 6971546"/>
              <a:gd name="connsiteY69" fmla="*/ 6139825 h 6851067"/>
              <a:gd name="connsiteX70" fmla="*/ 2272539 w 6971546"/>
              <a:gd name="connsiteY70" fmla="*/ 6087312 h 6851067"/>
              <a:gd name="connsiteX71" fmla="*/ 2345345 w 6971546"/>
              <a:gd name="connsiteY71" fmla="*/ 6032942 h 6851067"/>
              <a:gd name="connsiteX72" fmla="*/ 2416678 w 6971546"/>
              <a:gd name="connsiteY72" fmla="*/ 5976697 h 6851067"/>
              <a:gd name="connsiteX73" fmla="*/ 2486647 w 6971546"/>
              <a:gd name="connsiteY73" fmla="*/ 5918565 h 6851067"/>
              <a:gd name="connsiteX74" fmla="*/ 2555365 w 6971546"/>
              <a:gd name="connsiteY74" fmla="*/ 5858528 h 6851067"/>
              <a:gd name="connsiteX75" fmla="*/ 2622945 w 6971546"/>
              <a:gd name="connsiteY75" fmla="*/ 5796570 h 6851067"/>
              <a:gd name="connsiteX76" fmla="*/ 2689497 w 6971546"/>
              <a:gd name="connsiteY76" fmla="*/ 5732675 h 6851067"/>
              <a:gd name="connsiteX77" fmla="*/ 2755136 w 6971546"/>
              <a:gd name="connsiteY77" fmla="*/ 5666828 h 6851067"/>
              <a:gd name="connsiteX78" fmla="*/ 2819971 w 6971546"/>
              <a:gd name="connsiteY78" fmla="*/ 5599013 h 6851067"/>
              <a:gd name="connsiteX79" fmla="*/ 2884121 w 6971546"/>
              <a:gd name="connsiteY79" fmla="*/ 5529215 h 6851067"/>
              <a:gd name="connsiteX80" fmla="*/ 2947691 w 6971546"/>
              <a:gd name="connsiteY80" fmla="*/ 5457417 h 6851067"/>
              <a:gd name="connsiteX81" fmla="*/ 3010801 w 6971546"/>
              <a:gd name="connsiteY81" fmla="*/ 5383602 h 6851067"/>
              <a:gd name="connsiteX82" fmla="*/ 3073554 w 6971546"/>
              <a:gd name="connsiteY82" fmla="*/ 5307756 h 6851067"/>
              <a:gd name="connsiteX83" fmla="*/ 3136071 w 6971546"/>
              <a:gd name="connsiteY83" fmla="*/ 5229864 h 6851067"/>
              <a:gd name="connsiteX84" fmla="*/ 3198459 w 6971546"/>
              <a:gd name="connsiteY84" fmla="*/ 5149908 h 6851067"/>
              <a:gd name="connsiteX85" fmla="*/ 3260834 w 6971546"/>
              <a:gd name="connsiteY85" fmla="*/ 5067873 h 6851067"/>
              <a:gd name="connsiteX86" fmla="*/ 3323306 w 6971546"/>
              <a:gd name="connsiteY86" fmla="*/ 4983744 h 6851067"/>
              <a:gd name="connsiteX87" fmla="*/ 3385990 w 6971546"/>
              <a:gd name="connsiteY87" fmla="*/ 4897504 h 6851067"/>
              <a:gd name="connsiteX88" fmla="*/ 3448996 w 6971546"/>
              <a:gd name="connsiteY88" fmla="*/ 4809138 h 6851067"/>
              <a:gd name="connsiteX89" fmla="*/ 3512436 w 6971546"/>
              <a:gd name="connsiteY89" fmla="*/ 4718631 h 6851067"/>
              <a:gd name="connsiteX90" fmla="*/ 3576424 w 6971546"/>
              <a:gd name="connsiteY90" fmla="*/ 4625966 h 6851067"/>
              <a:gd name="connsiteX91" fmla="*/ 3641071 w 6971546"/>
              <a:gd name="connsiteY91" fmla="*/ 4531128 h 6851067"/>
              <a:gd name="connsiteX92" fmla="*/ 3772797 w 6971546"/>
              <a:gd name="connsiteY92" fmla="*/ 4334864 h 6851067"/>
              <a:gd name="connsiteX93" fmla="*/ 3908511 w 6971546"/>
              <a:gd name="connsiteY93" fmla="*/ 4129718 h 6851067"/>
              <a:gd name="connsiteX94" fmla="*/ 3966217 w 6971546"/>
              <a:gd name="connsiteY94" fmla="*/ 4041379 h 6851067"/>
              <a:gd name="connsiteX95" fmla="*/ 4023348 w 6971546"/>
              <a:gd name="connsiteY95" fmla="*/ 3952716 h 6851067"/>
              <a:gd name="connsiteX96" fmla="*/ 4079928 w 6971546"/>
              <a:gd name="connsiteY96" fmla="*/ 3863805 h 6851067"/>
              <a:gd name="connsiteX97" fmla="*/ 4135986 w 6971546"/>
              <a:gd name="connsiteY97" fmla="*/ 3774719 h 6851067"/>
              <a:gd name="connsiteX98" fmla="*/ 4246624 w 6971546"/>
              <a:gd name="connsiteY98" fmla="*/ 3596319 h 6851067"/>
              <a:gd name="connsiteX99" fmla="*/ 4355472 w 6971546"/>
              <a:gd name="connsiteY99" fmla="*/ 3418120 h 6851067"/>
              <a:gd name="connsiteX100" fmla="*/ 4788690 w 6971546"/>
              <a:gd name="connsiteY100" fmla="*/ 2699836 h 6851067"/>
              <a:gd name="connsiteX101" fmla="*/ 4922636 w 6971546"/>
              <a:gd name="connsiteY101" fmla="*/ 2481041 h 6851067"/>
              <a:gd name="connsiteX102" fmla="*/ 5013172 w 6971546"/>
              <a:gd name="connsiteY102" fmla="*/ 2335521 h 6851067"/>
              <a:gd name="connsiteX103" fmla="*/ 5104952 w 6971546"/>
              <a:gd name="connsiteY103" fmla="*/ 2190436 h 6851067"/>
              <a:gd name="connsiteX104" fmla="*/ 5198200 w 6971546"/>
              <a:gd name="connsiteY104" fmla="*/ 2045920 h 6851067"/>
              <a:gd name="connsiteX105" fmla="*/ 5293132 w 6971546"/>
              <a:gd name="connsiteY105" fmla="*/ 1902114 h 6851067"/>
              <a:gd name="connsiteX106" fmla="*/ 5341296 w 6971546"/>
              <a:gd name="connsiteY106" fmla="*/ 1830521 h 6851067"/>
              <a:gd name="connsiteX107" fmla="*/ 5389964 w 6971546"/>
              <a:gd name="connsiteY107" fmla="*/ 1759157 h 6851067"/>
              <a:gd name="connsiteX108" fmla="*/ 5439162 w 6971546"/>
              <a:gd name="connsiteY108" fmla="*/ 1688039 h 6851067"/>
              <a:gd name="connsiteX109" fmla="*/ 5488921 w 6971546"/>
              <a:gd name="connsiteY109" fmla="*/ 1617184 h 6851067"/>
              <a:gd name="connsiteX110" fmla="*/ 5539262 w 6971546"/>
              <a:gd name="connsiteY110" fmla="*/ 1546611 h 6851067"/>
              <a:gd name="connsiteX111" fmla="*/ 5590216 w 6971546"/>
              <a:gd name="connsiteY111" fmla="*/ 1476334 h 6851067"/>
              <a:gd name="connsiteX112" fmla="*/ 5641810 w 6971546"/>
              <a:gd name="connsiteY112" fmla="*/ 1406373 h 6851067"/>
              <a:gd name="connsiteX113" fmla="*/ 5694072 w 6971546"/>
              <a:gd name="connsiteY113" fmla="*/ 1336745 h 6851067"/>
              <a:gd name="connsiteX114" fmla="*/ 5747026 w 6971546"/>
              <a:gd name="connsiteY114" fmla="*/ 1267466 h 6851067"/>
              <a:gd name="connsiteX115" fmla="*/ 5800703 w 6971546"/>
              <a:gd name="connsiteY115" fmla="*/ 1198553 h 6851067"/>
              <a:gd name="connsiteX116" fmla="*/ 5855129 w 6971546"/>
              <a:gd name="connsiteY116" fmla="*/ 1130025 h 6851067"/>
              <a:gd name="connsiteX117" fmla="*/ 5910332 w 6971546"/>
              <a:gd name="connsiteY117" fmla="*/ 1061898 h 6851067"/>
              <a:gd name="connsiteX118" fmla="*/ 5966338 w 6971546"/>
              <a:gd name="connsiteY118" fmla="*/ 994190 h 6851067"/>
              <a:gd name="connsiteX119" fmla="*/ 6023176 w 6971546"/>
              <a:gd name="connsiteY119" fmla="*/ 926917 h 6851067"/>
              <a:gd name="connsiteX120" fmla="*/ 6080870 w 6971546"/>
              <a:gd name="connsiteY120" fmla="*/ 860096 h 6851067"/>
              <a:gd name="connsiteX121" fmla="*/ 6139454 w 6971546"/>
              <a:gd name="connsiteY121" fmla="*/ 793746 h 6851067"/>
              <a:gd name="connsiteX122" fmla="*/ 6198948 w 6971546"/>
              <a:gd name="connsiteY122" fmla="*/ 727883 h 6851067"/>
              <a:gd name="connsiteX123" fmla="*/ 6259385 w 6971546"/>
              <a:gd name="connsiteY123" fmla="*/ 662525 h 6851067"/>
              <a:gd name="connsiteX124" fmla="*/ 6320788 w 6971546"/>
              <a:gd name="connsiteY124" fmla="*/ 597687 h 6851067"/>
              <a:gd name="connsiteX125" fmla="*/ 6383186 w 6971546"/>
              <a:gd name="connsiteY125" fmla="*/ 533390 h 6851067"/>
              <a:gd name="connsiteX126" fmla="*/ 6446606 w 6971546"/>
              <a:gd name="connsiteY126" fmla="*/ 469646 h 6851067"/>
              <a:gd name="connsiteX127" fmla="*/ 6511078 w 6971546"/>
              <a:gd name="connsiteY127" fmla="*/ 406478 h 6851067"/>
              <a:gd name="connsiteX128" fmla="*/ 6576626 w 6971546"/>
              <a:gd name="connsiteY128" fmla="*/ 343901 h 6851067"/>
              <a:gd name="connsiteX129" fmla="*/ 6643276 w 6971546"/>
              <a:gd name="connsiteY129" fmla="*/ 281931 h 6851067"/>
              <a:gd name="connsiteX130" fmla="*/ 6711060 w 6971546"/>
              <a:gd name="connsiteY130" fmla="*/ 220584 h 6851067"/>
              <a:gd name="connsiteX131" fmla="*/ 6780006 w 6971546"/>
              <a:gd name="connsiteY131" fmla="*/ 159882 h 6851067"/>
              <a:gd name="connsiteX132" fmla="*/ 6850134 w 6971546"/>
              <a:gd name="connsiteY132" fmla="*/ 99839 h 6851067"/>
              <a:gd name="connsiteX133" fmla="*/ 6921479 w 6971546"/>
              <a:gd name="connsiteY133" fmla="*/ 40471 h 6851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6971546" h="6851067">
                <a:moveTo>
                  <a:pt x="6971546" y="0"/>
                </a:moveTo>
                <a:lnTo>
                  <a:pt x="6971546" y="2188516"/>
                </a:lnTo>
                <a:lnTo>
                  <a:pt x="6937991" y="2232665"/>
                </a:lnTo>
                <a:lnTo>
                  <a:pt x="6884304" y="2304872"/>
                </a:lnTo>
                <a:lnTo>
                  <a:pt x="6831236" y="2377761"/>
                </a:lnTo>
                <a:lnTo>
                  <a:pt x="6778740" y="2451318"/>
                </a:lnTo>
                <a:lnTo>
                  <a:pt x="6726770" y="2525520"/>
                </a:lnTo>
                <a:lnTo>
                  <a:pt x="6675289" y="2600359"/>
                </a:lnTo>
                <a:lnTo>
                  <a:pt x="6624246" y="2675810"/>
                </a:lnTo>
                <a:lnTo>
                  <a:pt x="6573602" y="2751863"/>
                </a:lnTo>
                <a:lnTo>
                  <a:pt x="6523311" y="2828495"/>
                </a:lnTo>
                <a:lnTo>
                  <a:pt x="6473328" y="2905694"/>
                </a:lnTo>
                <a:lnTo>
                  <a:pt x="6423610" y="2983438"/>
                </a:lnTo>
                <a:lnTo>
                  <a:pt x="6324797" y="3140510"/>
                </a:lnTo>
                <a:lnTo>
                  <a:pt x="6226516" y="3299569"/>
                </a:lnTo>
                <a:lnTo>
                  <a:pt x="6128416" y="3460487"/>
                </a:lnTo>
                <a:lnTo>
                  <a:pt x="5680557" y="4202845"/>
                </a:lnTo>
                <a:lnTo>
                  <a:pt x="5574376" y="4376013"/>
                </a:lnTo>
                <a:lnTo>
                  <a:pt x="5465287" y="4551238"/>
                </a:lnTo>
                <a:lnTo>
                  <a:pt x="5353584" y="4727228"/>
                </a:lnTo>
                <a:lnTo>
                  <a:pt x="5296844" y="4815108"/>
                </a:lnTo>
                <a:lnTo>
                  <a:pt x="5239559" y="4902699"/>
                </a:lnTo>
                <a:lnTo>
                  <a:pt x="5104496" y="5106135"/>
                </a:lnTo>
                <a:lnTo>
                  <a:pt x="5037875" y="5205072"/>
                </a:lnTo>
                <a:lnTo>
                  <a:pt x="4971784" y="5302175"/>
                </a:lnTo>
                <a:lnTo>
                  <a:pt x="4906170" y="5397459"/>
                </a:lnTo>
                <a:lnTo>
                  <a:pt x="4840972" y="5490944"/>
                </a:lnTo>
                <a:lnTo>
                  <a:pt x="4776142" y="5582643"/>
                </a:lnTo>
                <a:lnTo>
                  <a:pt x="4711617" y="5672575"/>
                </a:lnTo>
                <a:lnTo>
                  <a:pt x="4647346" y="5760752"/>
                </a:lnTo>
                <a:lnTo>
                  <a:pt x="4583268" y="5847192"/>
                </a:lnTo>
                <a:lnTo>
                  <a:pt x="4519332" y="5931910"/>
                </a:lnTo>
                <a:lnTo>
                  <a:pt x="4455479" y="6014925"/>
                </a:lnTo>
                <a:lnTo>
                  <a:pt x="4391654" y="6096252"/>
                </a:lnTo>
                <a:lnTo>
                  <a:pt x="4327800" y="6175907"/>
                </a:lnTo>
                <a:lnTo>
                  <a:pt x="4263864" y="6253905"/>
                </a:lnTo>
                <a:lnTo>
                  <a:pt x="4199787" y="6330264"/>
                </a:lnTo>
                <a:lnTo>
                  <a:pt x="4135512" y="6404997"/>
                </a:lnTo>
                <a:lnTo>
                  <a:pt x="4070987" y="6478124"/>
                </a:lnTo>
                <a:lnTo>
                  <a:pt x="4006156" y="6549659"/>
                </a:lnTo>
                <a:lnTo>
                  <a:pt x="3940959" y="6619617"/>
                </a:lnTo>
                <a:lnTo>
                  <a:pt x="3875340" y="6688018"/>
                </a:lnTo>
                <a:lnTo>
                  <a:pt x="3809247" y="6754872"/>
                </a:lnTo>
                <a:lnTo>
                  <a:pt x="3742623" y="6820201"/>
                </a:lnTo>
                <a:lnTo>
                  <a:pt x="3710117" y="6851067"/>
                </a:lnTo>
                <a:lnTo>
                  <a:pt x="0" y="6851067"/>
                </a:lnTo>
                <a:lnTo>
                  <a:pt x="84651" y="6841039"/>
                </a:lnTo>
                <a:lnTo>
                  <a:pt x="187667" y="6827649"/>
                </a:lnTo>
                <a:lnTo>
                  <a:pt x="288454" y="6813335"/>
                </a:lnTo>
                <a:lnTo>
                  <a:pt x="387054" y="6798091"/>
                </a:lnTo>
                <a:lnTo>
                  <a:pt x="483510" y="6781907"/>
                </a:lnTo>
                <a:lnTo>
                  <a:pt x="577862" y="6764777"/>
                </a:lnTo>
                <a:lnTo>
                  <a:pt x="670155" y="6746694"/>
                </a:lnTo>
                <a:lnTo>
                  <a:pt x="760426" y="6727651"/>
                </a:lnTo>
                <a:lnTo>
                  <a:pt x="848721" y="6707640"/>
                </a:lnTo>
                <a:lnTo>
                  <a:pt x="935082" y="6686654"/>
                </a:lnTo>
                <a:lnTo>
                  <a:pt x="1019547" y="6664685"/>
                </a:lnTo>
                <a:lnTo>
                  <a:pt x="1102163" y="6641728"/>
                </a:lnTo>
                <a:lnTo>
                  <a:pt x="1182964" y="6617771"/>
                </a:lnTo>
                <a:lnTo>
                  <a:pt x="1261998" y="6592813"/>
                </a:lnTo>
                <a:lnTo>
                  <a:pt x="1339308" y="6566841"/>
                </a:lnTo>
                <a:lnTo>
                  <a:pt x="1414933" y="6539851"/>
                </a:lnTo>
                <a:lnTo>
                  <a:pt x="1488915" y="6511834"/>
                </a:lnTo>
                <a:lnTo>
                  <a:pt x="1561294" y="6482785"/>
                </a:lnTo>
                <a:lnTo>
                  <a:pt x="1701419" y="6421557"/>
                </a:lnTo>
                <a:lnTo>
                  <a:pt x="1835646" y="6356106"/>
                </a:lnTo>
                <a:lnTo>
                  <a:pt x="1964300" y="6286377"/>
                </a:lnTo>
                <a:lnTo>
                  <a:pt x="2044136" y="6239342"/>
                </a:lnTo>
                <a:lnTo>
                  <a:pt x="2122044" y="6190495"/>
                </a:lnTo>
                <a:lnTo>
                  <a:pt x="2198142" y="6139825"/>
                </a:lnTo>
                <a:lnTo>
                  <a:pt x="2272539" y="6087312"/>
                </a:lnTo>
                <a:lnTo>
                  <a:pt x="2345345" y="6032942"/>
                </a:lnTo>
                <a:lnTo>
                  <a:pt x="2416678" y="5976697"/>
                </a:lnTo>
                <a:lnTo>
                  <a:pt x="2486647" y="5918565"/>
                </a:lnTo>
                <a:lnTo>
                  <a:pt x="2555365" y="5858528"/>
                </a:lnTo>
                <a:lnTo>
                  <a:pt x="2622945" y="5796570"/>
                </a:lnTo>
                <a:lnTo>
                  <a:pt x="2689497" y="5732675"/>
                </a:lnTo>
                <a:lnTo>
                  <a:pt x="2755136" y="5666828"/>
                </a:lnTo>
                <a:lnTo>
                  <a:pt x="2819971" y="5599013"/>
                </a:lnTo>
                <a:lnTo>
                  <a:pt x="2884121" y="5529215"/>
                </a:lnTo>
                <a:lnTo>
                  <a:pt x="2947691" y="5457417"/>
                </a:lnTo>
                <a:lnTo>
                  <a:pt x="3010801" y="5383602"/>
                </a:lnTo>
                <a:lnTo>
                  <a:pt x="3073554" y="5307756"/>
                </a:lnTo>
                <a:lnTo>
                  <a:pt x="3136071" y="5229864"/>
                </a:lnTo>
                <a:lnTo>
                  <a:pt x="3198459" y="5149908"/>
                </a:lnTo>
                <a:lnTo>
                  <a:pt x="3260834" y="5067873"/>
                </a:lnTo>
                <a:lnTo>
                  <a:pt x="3323306" y="4983744"/>
                </a:lnTo>
                <a:lnTo>
                  <a:pt x="3385990" y="4897504"/>
                </a:lnTo>
                <a:lnTo>
                  <a:pt x="3448996" y="4809138"/>
                </a:lnTo>
                <a:lnTo>
                  <a:pt x="3512436" y="4718631"/>
                </a:lnTo>
                <a:lnTo>
                  <a:pt x="3576424" y="4625966"/>
                </a:lnTo>
                <a:lnTo>
                  <a:pt x="3641071" y="4531128"/>
                </a:lnTo>
                <a:lnTo>
                  <a:pt x="3772797" y="4334864"/>
                </a:lnTo>
                <a:lnTo>
                  <a:pt x="3908511" y="4129718"/>
                </a:lnTo>
                <a:lnTo>
                  <a:pt x="3966217" y="4041379"/>
                </a:lnTo>
                <a:lnTo>
                  <a:pt x="4023348" y="3952716"/>
                </a:lnTo>
                <a:lnTo>
                  <a:pt x="4079928" y="3863805"/>
                </a:lnTo>
                <a:lnTo>
                  <a:pt x="4135986" y="3774719"/>
                </a:lnTo>
                <a:lnTo>
                  <a:pt x="4246624" y="3596319"/>
                </a:lnTo>
                <a:lnTo>
                  <a:pt x="4355472" y="3418120"/>
                </a:lnTo>
                <a:lnTo>
                  <a:pt x="4788690" y="2699836"/>
                </a:lnTo>
                <a:lnTo>
                  <a:pt x="4922636" y="2481041"/>
                </a:lnTo>
                <a:lnTo>
                  <a:pt x="5013172" y="2335521"/>
                </a:lnTo>
                <a:lnTo>
                  <a:pt x="5104952" y="2190436"/>
                </a:lnTo>
                <a:lnTo>
                  <a:pt x="5198200" y="2045920"/>
                </a:lnTo>
                <a:lnTo>
                  <a:pt x="5293132" y="1902114"/>
                </a:lnTo>
                <a:lnTo>
                  <a:pt x="5341296" y="1830521"/>
                </a:lnTo>
                <a:lnTo>
                  <a:pt x="5389964" y="1759157"/>
                </a:lnTo>
                <a:lnTo>
                  <a:pt x="5439162" y="1688039"/>
                </a:lnTo>
                <a:lnTo>
                  <a:pt x="5488921" y="1617184"/>
                </a:lnTo>
                <a:lnTo>
                  <a:pt x="5539262" y="1546611"/>
                </a:lnTo>
                <a:lnTo>
                  <a:pt x="5590216" y="1476334"/>
                </a:lnTo>
                <a:lnTo>
                  <a:pt x="5641810" y="1406373"/>
                </a:lnTo>
                <a:lnTo>
                  <a:pt x="5694072" y="1336745"/>
                </a:lnTo>
                <a:lnTo>
                  <a:pt x="5747026" y="1267466"/>
                </a:lnTo>
                <a:lnTo>
                  <a:pt x="5800703" y="1198553"/>
                </a:lnTo>
                <a:lnTo>
                  <a:pt x="5855129" y="1130025"/>
                </a:lnTo>
                <a:lnTo>
                  <a:pt x="5910332" y="1061898"/>
                </a:lnTo>
                <a:lnTo>
                  <a:pt x="5966338" y="994190"/>
                </a:lnTo>
                <a:lnTo>
                  <a:pt x="6023176" y="926917"/>
                </a:lnTo>
                <a:lnTo>
                  <a:pt x="6080870" y="860096"/>
                </a:lnTo>
                <a:lnTo>
                  <a:pt x="6139454" y="793746"/>
                </a:lnTo>
                <a:lnTo>
                  <a:pt x="6198948" y="727883"/>
                </a:lnTo>
                <a:lnTo>
                  <a:pt x="6259385" y="662525"/>
                </a:lnTo>
                <a:lnTo>
                  <a:pt x="6320788" y="597687"/>
                </a:lnTo>
                <a:lnTo>
                  <a:pt x="6383186" y="533390"/>
                </a:lnTo>
                <a:lnTo>
                  <a:pt x="6446606" y="469646"/>
                </a:lnTo>
                <a:lnTo>
                  <a:pt x="6511078" y="406478"/>
                </a:lnTo>
                <a:lnTo>
                  <a:pt x="6576626" y="343901"/>
                </a:lnTo>
                <a:lnTo>
                  <a:pt x="6643276" y="281931"/>
                </a:lnTo>
                <a:lnTo>
                  <a:pt x="6711060" y="220584"/>
                </a:lnTo>
                <a:lnTo>
                  <a:pt x="6780006" y="159882"/>
                </a:lnTo>
                <a:lnTo>
                  <a:pt x="6850134" y="99839"/>
                </a:lnTo>
                <a:lnTo>
                  <a:pt x="6921479" y="40471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3087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 - Navy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5F13BECD-6159-01CF-B14A-E24AEAF858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3166946"/>
            <a:ext cx="7155678" cy="678056"/>
          </a:xfrm>
          <a:prstGeom prst="rect">
            <a:avLst/>
          </a:prstGeom>
        </p:spPr>
        <p:txBody>
          <a:bodyPr anchor="ctr"/>
          <a:lstStyle>
            <a:lvl1pPr algn="l">
              <a:defRPr sz="5000" b="0">
                <a:solidFill>
                  <a:schemeClr val="bg1"/>
                </a:solidFill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Breaker B tit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2F070C4-A55A-57CC-B2F9-24B5AC3F66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4146873"/>
            <a:ext cx="7156450" cy="811151"/>
          </a:xfrm>
          <a:prstGeom prst="rect">
            <a:avLst/>
          </a:prstGeom>
        </p:spPr>
        <p:txBody>
          <a:bodyPr anchor="ctr"/>
          <a:lstStyle>
            <a:lvl1pPr>
              <a:defRPr lang="en-US" sz="2400" b="0" kern="1200" dirty="0" smtClean="0">
                <a:solidFill>
                  <a:schemeClr val="bg1"/>
                </a:solidFill>
                <a:latin typeface="DM Sans" pitchFamily="2" charset="0"/>
                <a:ea typeface="+mj-ea"/>
                <a:cs typeface="DM Sans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DM Sans" pitchFamily="2" charset="0"/>
              <a:buNone/>
              <a:tabLst/>
              <a:defRPr/>
            </a:pPr>
            <a:r>
              <a:rPr lang="en-US"/>
              <a:t>This is a subhead for added messaging </a:t>
            </a:r>
            <a:br>
              <a:rPr lang="en-US"/>
            </a:br>
            <a:r>
              <a:rPr lang="en-US"/>
              <a:t>on a break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A8A5BF9-2BD8-2FB4-8F28-F940071410A1}"/>
              </a:ext>
            </a:extLst>
          </p:cNvPr>
          <p:cNvSpPr txBox="1"/>
          <p:nvPr userDrawn="1"/>
        </p:nvSpPr>
        <p:spPr>
          <a:xfrm>
            <a:off x="343110" y="6384784"/>
            <a:ext cx="400050" cy="244615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DM Sans" pitchFamily="2" charset="0"/>
              <a:buNone/>
              <a:defRPr sz="800">
                <a:solidFill>
                  <a:srgbClr val="40454D"/>
                </a:solidFill>
                <a:latin typeface="DM Sans" pitchFamily="2" charset="0"/>
                <a:cs typeface="DM Sans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9pPr>
          </a:lstStyle>
          <a:p>
            <a:pPr marL="0" lvl="0" indent="0"/>
            <a:fld id="{C67458B2-126D-41DF-9342-05EBD80CAE7A}" type="slidenum">
              <a:rPr lang="en-CA" smtClean="0">
                <a:solidFill>
                  <a:schemeClr val="bg1"/>
                </a:solidFill>
                <a:latin typeface="DM Sans" pitchFamily="2" charset="0"/>
              </a:rPr>
              <a:pPr marL="0" lvl="0" indent="0"/>
              <a:t>‹#›</a:t>
            </a:fld>
            <a:endParaRPr lang="en-CA">
              <a:solidFill>
                <a:schemeClr val="bg1"/>
              </a:solidFill>
              <a:latin typeface="DM Sans" pitchFamily="2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FAD2D2E-A1C1-39F9-E1A2-CE83536628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669" y="0"/>
            <a:ext cx="4755963" cy="2280498"/>
          </a:xfrm>
          <a:prstGeom prst="rect">
            <a:avLst/>
          </a:prstGeom>
        </p:spPr>
      </p:pic>
      <p:sp>
        <p:nvSpPr>
          <p:cNvPr id="4" name="Freeform 3">
            <a:extLst>
              <a:ext uri="{FF2B5EF4-FFF2-40B4-BE49-F238E27FC236}">
                <a16:creationId xmlns:a16="http://schemas.microsoft.com/office/drawing/2014/main" id="{3F0A0E15-8D30-FFC3-886E-EED2C5277458}"/>
              </a:ext>
            </a:extLst>
          </p:cNvPr>
          <p:cNvSpPr/>
          <p:nvPr userDrawn="1"/>
        </p:nvSpPr>
        <p:spPr>
          <a:xfrm>
            <a:off x="5220454" y="6934"/>
            <a:ext cx="6971546" cy="6851067"/>
          </a:xfrm>
          <a:custGeom>
            <a:avLst/>
            <a:gdLst>
              <a:gd name="connsiteX0" fmla="*/ 6971546 w 6971546"/>
              <a:gd name="connsiteY0" fmla="*/ 0 h 6851067"/>
              <a:gd name="connsiteX1" fmla="*/ 6971546 w 6971546"/>
              <a:gd name="connsiteY1" fmla="*/ 2188516 h 6851067"/>
              <a:gd name="connsiteX2" fmla="*/ 6937991 w 6971546"/>
              <a:gd name="connsiteY2" fmla="*/ 2232665 h 6851067"/>
              <a:gd name="connsiteX3" fmla="*/ 6884304 w 6971546"/>
              <a:gd name="connsiteY3" fmla="*/ 2304872 h 6851067"/>
              <a:gd name="connsiteX4" fmla="*/ 6831236 w 6971546"/>
              <a:gd name="connsiteY4" fmla="*/ 2377761 h 6851067"/>
              <a:gd name="connsiteX5" fmla="*/ 6778740 w 6971546"/>
              <a:gd name="connsiteY5" fmla="*/ 2451318 h 6851067"/>
              <a:gd name="connsiteX6" fmla="*/ 6726770 w 6971546"/>
              <a:gd name="connsiteY6" fmla="*/ 2525520 h 6851067"/>
              <a:gd name="connsiteX7" fmla="*/ 6675289 w 6971546"/>
              <a:gd name="connsiteY7" fmla="*/ 2600359 h 6851067"/>
              <a:gd name="connsiteX8" fmla="*/ 6624246 w 6971546"/>
              <a:gd name="connsiteY8" fmla="*/ 2675810 h 6851067"/>
              <a:gd name="connsiteX9" fmla="*/ 6573602 w 6971546"/>
              <a:gd name="connsiteY9" fmla="*/ 2751863 h 6851067"/>
              <a:gd name="connsiteX10" fmla="*/ 6523311 w 6971546"/>
              <a:gd name="connsiteY10" fmla="*/ 2828495 h 6851067"/>
              <a:gd name="connsiteX11" fmla="*/ 6473328 w 6971546"/>
              <a:gd name="connsiteY11" fmla="*/ 2905694 h 6851067"/>
              <a:gd name="connsiteX12" fmla="*/ 6423610 w 6971546"/>
              <a:gd name="connsiteY12" fmla="*/ 2983438 h 6851067"/>
              <a:gd name="connsiteX13" fmla="*/ 6324797 w 6971546"/>
              <a:gd name="connsiteY13" fmla="*/ 3140510 h 6851067"/>
              <a:gd name="connsiteX14" fmla="*/ 6226516 w 6971546"/>
              <a:gd name="connsiteY14" fmla="*/ 3299569 h 6851067"/>
              <a:gd name="connsiteX15" fmla="*/ 6128416 w 6971546"/>
              <a:gd name="connsiteY15" fmla="*/ 3460487 h 6851067"/>
              <a:gd name="connsiteX16" fmla="*/ 5680557 w 6971546"/>
              <a:gd name="connsiteY16" fmla="*/ 4202845 h 6851067"/>
              <a:gd name="connsiteX17" fmla="*/ 5574376 w 6971546"/>
              <a:gd name="connsiteY17" fmla="*/ 4376013 h 6851067"/>
              <a:gd name="connsiteX18" fmla="*/ 5465287 w 6971546"/>
              <a:gd name="connsiteY18" fmla="*/ 4551238 h 6851067"/>
              <a:gd name="connsiteX19" fmla="*/ 5353584 w 6971546"/>
              <a:gd name="connsiteY19" fmla="*/ 4727228 h 6851067"/>
              <a:gd name="connsiteX20" fmla="*/ 5296844 w 6971546"/>
              <a:gd name="connsiteY20" fmla="*/ 4815108 h 6851067"/>
              <a:gd name="connsiteX21" fmla="*/ 5239559 w 6971546"/>
              <a:gd name="connsiteY21" fmla="*/ 4902699 h 6851067"/>
              <a:gd name="connsiteX22" fmla="*/ 5104496 w 6971546"/>
              <a:gd name="connsiteY22" fmla="*/ 5106135 h 6851067"/>
              <a:gd name="connsiteX23" fmla="*/ 5037875 w 6971546"/>
              <a:gd name="connsiteY23" fmla="*/ 5205072 h 6851067"/>
              <a:gd name="connsiteX24" fmla="*/ 4971784 w 6971546"/>
              <a:gd name="connsiteY24" fmla="*/ 5302175 h 6851067"/>
              <a:gd name="connsiteX25" fmla="*/ 4906170 w 6971546"/>
              <a:gd name="connsiteY25" fmla="*/ 5397459 h 6851067"/>
              <a:gd name="connsiteX26" fmla="*/ 4840972 w 6971546"/>
              <a:gd name="connsiteY26" fmla="*/ 5490944 h 6851067"/>
              <a:gd name="connsiteX27" fmla="*/ 4776142 w 6971546"/>
              <a:gd name="connsiteY27" fmla="*/ 5582643 h 6851067"/>
              <a:gd name="connsiteX28" fmla="*/ 4711617 w 6971546"/>
              <a:gd name="connsiteY28" fmla="*/ 5672575 h 6851067"/>
              <a:gd name="connsiteX29" fmla="*/ 4647346 w 6971546"/>
              <a:gd name="connsiteY29" fmla="*/ 5760752 h 6851067"/>
              <a:gd name="connsiteX30" fmla="*/ 4583268 w 6971546"/>
              <a:gd name="connsiteY30" fmla="*/ 5847192 h 6851067"/>
              <a:gd name="connsiteX31" fmla="*/ 4519332 w 6971546"/>
              <a:gd name="connsiteY31" fmla="*/ 5931910 h 6851067"/>
              <a:gd name="connsiteX32" fmla="*/ 4455479 w 6971546"/>
              <a:gd name="connsiteY32" fmla="*/ 6014925 h 6851067"/>
              <a:gd name="connsiteX33" fmla="*/ 4391654 w 6971546"/>
              <a:gd name="connsiteY33" fmla="*/ 6096252 h 6851067"/>
              <a:gd name="connsiteX34" fmla="*/ 4327800 w 6971546"/>
              <a:gd name="connsiteY34" fmla="*/ 6175907 h 6851067"/>
              <a:gd name="connsiteX35" fmla="*/ 4263864 w 6971546"/>
              <a:gd name="connsiteY35" fmla="*/ 6253905 h 6851067"/>
              <a:gd name="connsiteX36" fmla="*/ 4199787 w 6971546"/>
              <a:gd name="connsiteY36" fmla="*/ 6330264 h 6851067"/>
              <a:gd name="connsiteX37" fmla="*/ 4135512 w 6971546"/>
              <a:gd name="connsiteY37" fmla="*/ 6404997 h 6851067"/>
              <a:gd name="connsiteX38" fmla="*/ 4070987 w 6971546"/>
              <a:gd name="connsiteY38" fmla="*/ 6478124 h 6851067"/>
              <a:gd name="connsiteX39" fmla="*/ 4006156 w 6971546"/>
              <a:gd name="connsiteY39" fmla="*/ 6549659 h 6851067"/>
              <a:gd name="connsiteX40" fmla="*/ 3940959 w 6971546"/>
              <a:gd name="connsiteY40" fmla="*/ 6619617 h 6851067"/>
              <a:gd name="connsiteX41" fmla="*/ 3875340 w 6971546"/>
              <a:gd name="connsiteY41" fmla="*/ 6688018 h 6851067"/>
              <a:gd name="connsiteX42" fmla="*/ 3809247 w 6971546"/>
              <a:gd name="connsiteY42" fmla="*/ 6754872 h 6851067"/>
              <a:gd name="connsiteX43" fmla="*/ 3742623 w 6971546"/>
              <a:gd name="connsiteY43" fmla="*/ 6820201 h 6851067"/>
              <a:gd name="connsiteX44" fmla="*/ 3710117 w 6971546"/>
              <a:gd name="connsiteY44" fmla="*/ 6851067 h 6851067"/>
              <a:gd name="connsiteX45" fmla="*/ 0 w 6971546"/>
              <a:gd name="connsiteY45" fmla="*/ 6851067 h 6851067"/>
              <a:gd name="connsiteX46" fmla="*/ 84651 w 6971546"/>
              <a:gd name="connsiteY46" fmla="*/ 6841039 h 6851067"/>
              <a:gd name="connsiteX47" fmla="*/ 187667 w 6971546"/>
              <a:gd name="connsiteY47" fmla="*/ 6827649 h 6851067"/>
              <a:gd name="connsiteX48" fmla="*/ 288454 w 6971546"/>
              <a:gd name="connsiteY48" fmla="*/ 6813335 h 6851067"/>
              <a:gd name="connsiteX49" fmla="*/ 387054 w 6971546"/>
              <a:gd name="connsiteY49" fmla="*/ 6798091 h 6851067"/>
              <a:gd name="connsiteX50" fmla="*/ 483510 w 6971546"/>
              <a:gd name="connsiteY50" fmla="*/ 6781907 h 6851067"/>
              <a:gd name="connsiteX51" fmla="*/ 577862 w 6971546"/>
              <a:gd name="connsiteY51" fmla="*/ 6764777 h 6851067"/>
              <a:gd name="connsiteX52" fmla="*/ 670155 w 6971546"/>
              <a:gd name="connsiteY52" fmla="*/ 6746694 h 6851067"/>
              <a:gd name="connsiteX53" fmla="*/ 760426 w 6971546"/>
              <a:gd name="connsiteY53" fmla="*/ 6727651 h 6851067"/>
              <a:gd name="connsiteX54" fmla="*/ 848721 w 6971546"/>
              <a:gd name="connsiteY54" fmla="*/ 6707640 h 6851067"/>
              <a:gd name="connsiteX55" fmla="*/ 935082 w 6971546"/>
              <a:gd name="connsiteY55" fmla="*/ 6686654 h 6851067"/>
              <a:gd name="connsiteX56" fmla="*/ 1019547 w 6971546"/>
              <a:gd name="connsiteY56" fmla="*/ 6664685 h 6851067"/>
              <a:gd name="connsiteX57" fmla="*/ 1102163 w 6971546"/>
              <a:gd name="connsiteY57" fmla="*/ 6641728 h 6851067"/>
              <a:gd name="connsiteX58" fmla="*/ 1182964 w 6971546"/>
              <a:gd name="connsiteY58" fmla="*/ 6617771 h 6851067"/>
              <a:gd name="connsiteX59" fmla="*/ 1261998 w 6971546"/>
              <a:gd name="connsiteY59" fmla="*/ 6592813 h 6851067"/>
              <a:gd name="connsiteX60" fmla="*/ 1339308 w 6971546"/>
              <a:gd name="connsiteY60" fmla="*/ 6566841 h 6851067"/>
              <a:gd name="connsiteX61" fmla="*/ 1414933 w 6971546"/>
              <a:gd name="connsiteY61" fmla="*/ 6539851 h 6851067"/>
              <a:gd name="connsiteX62" fmla="*/ 1488915 w 6971546"/>
              <a:gd name="connsiteY62" fmla="*/ 6511834 h 6851067"/>
              <a:gd name="connsiteX63" fmla="*/ 1561294 w 6971546"/>
              <a:gd name="connsiteY63" fmla="*/ 6482785 h 6851067"/>
              <a:gd name="connsiteX64" fmla="*/ 1701419 w 6971546"/>
              <a:gd name="connsiteY64" fmla="*/ 6421557 h 6851067"/>
              <a:gd name="connsiteX65" fmla="*/ 1835646 w 6971546"/>
              <a:gd name="connsiteY65" fmla="*/ 6356106 h 6851067"/>
              <a:gd name="connsiteX66" fmla="*/ 1964300 w 6971546"/>
              <a:gd name="connsiteY66" fmla="*/ 6286377 h 6851067"/>
              <a:gd name="connsiteX67" fmla="*/ 2044136 w 6971546"/>
              <a:gd name="connsiteY67" fmla="*/ 6239342 h 6851067"/>
              <a:gd name="connsiteX68" fmla="*/ 2122044 w 6971546"/>
              <a:gd name="connsiteY68" fmla="*/ 6190495 h 6851067"/>
              <a:gd name="connsiteX69" fmla="*/ 2198142 w 6971546"/>
              <a:gd name="connsiteY69" fmla="*/ 6139825 h 6851067"/>
              <a:gd name="connsiteX70" fmla="*/ 2272539 w 6971546"/>
              <a:gd name="connsiteY70" fmla="*/ 6087312 h 6851067"/>
              <a:gd name="connsiteX71" fmla="*/ 2345345 w 6971546"/>
              <a:gd name="connsiteY71" fmla="*/ 6032942 h 6851067"/>
              <a:gd name="connsiteX72" fmla="*/ 2416678 w 6971546"/>
              <a:gd name="connsiteY72" fmla="*/ 5976697 h 6851067"/>
              <a:gd name="connsiteX73" fmla="*/ 2486647 w 6971546"/>
              <a:gd name="connsiteY73" fmla="*/ 5918565 h 6851067"/>
              <a:gd name="connsiteX74" fmla="*/ 2555365 w 6971546"/>
              <a:gd name="connsiteY74" fmla="*/ 5858528 h 6851067"/>
              <a:gd name="connsiteX75" fmla="*/ 2622945 w 6971546"/>
              <a:gd name="connsiteY75" fmla="*/ 5796570 h 6851067"/>
              <a:gd name="connsiteX76" fmla="*/ 2689497 w 6971546"/>
              <a:gd name="connsiteY76" fmla="*/ 5732675 h 6851067"/>
              <a:gd name="connsiteX77" fmla="*/ 2755136 w 6971546"/>
              <a:gd name="connsiteY77" fmla="*/ 5666828 h 6851067"/>
              <a:gd name="connsiteX78" fmla="*/ 2819971 w 6971546"/>
              <a:gd name="connsiteY78" fmla="*/ 5599013 h 6851067"/>
              <a:gd name="connsiteX79" fmla="*/ 2884121 w 6971546"/>
              <a:gd name="connsiteY79" fmla="*/ 5529215 h 6851067"/>
              <a:gd name="connsiteX80" fmla="*/ 2947691 w 6971546"/>
              <a:gd name="connsiteY80" fmla="*/ 5457417 h 6851067"/>
              <a:gd name="connsiteX81" fmla="*/ 3010801 w 6971546"/>
              <a:gd name="connsiteY81" fmla="*/ 5383602 h 6851067"/>
              <a:gd name="connsiteX82" fmla="*/ 3073554 w 6971546"/>
              <a:gd name="connsiteY82" fmla="*/ 5307756 h 6851067"/>
              <a:gd name="connsiteX83" fmla="*/ 3136071 w 6971546"/>
              <a:gd name="connsiteY83" fmla="*/ 5229864 h 6851067"/>
              <a:gd name="connsiteX84" fmla="*/ 3198459 w 6971546"/>
              <a:gd name="connsiteY84" fmla="*/ 5149908 h 6851067"/>
              <a:gd name="connsiteX85" fmla="*/ 3260834 w 6971546"/>
              <a:gd name="connsiteY85" fmla="*/ 5067873 h 6851067"/>
              <a:gd name="connsiteX86" fmla="*/ 3323306 w 6971546"/>
              <a:gd name="connsiteY86" fmla="*/ 4983744 h 6851067"/>
              <a:gd name="connsiteX87" fmla="*/ 3385990 w 6971546"/>
              <a:gd name="connsiteY87" fmla="*/ 4897504 h 6851067"/>
              <a:gd name="connsiteX88" fmla="*/ 3448996 w 6971546"/>
              <a:gd name="connsiteY88" fmla="*/ 4809138 h 6851067"/>
              <a:gd name="connsiteX89" fmla="*/ 3512436 w 6971546"/>
              <a:gd name="connsiteY89" fmla="*/ 4718631 h 6851067"/>
              <a:gd name="connsiteX90" fmla="*/ 3576424 w 6971546"/>
              <a:gd name="connsiteY90" fmla="*/ 4625966 h 6851067"/>
              <a:gd name="connsiteX91" fmla="*/ 3641071 w 6971546"/>
              <a:gd name="connsiteY91" fmla="*/ 4531128 h 6851067"/>
              <a:gd name="connsiteX92" fmla="*/ 3772797 w 6971546"/>
              <a:gd name="connsiteY92" fmla="*/ 4334864 h 6851067"/>
              <a:gd name="connsiteX93" fmla="*/ 3908511 w 6971546"/>
              <a:gd name="connsiteY93" fmla="*/ 4129718 h 6851067"/>
              <a:gd name="connsiteX94" fmla="*/ 3966217 w 6971546"/>
              <a:gd name="connsiteY94" fmla="*/ 4041379 h 6851067"/>
              <a:gd name="connsiteX95" fmla="*/ 4023348 w 6971546"/>
              <a:gd name="connsiteY95" fmla="*/ 3952716 h 6851067"/>
              <a:gd name="connsiteX96" fmla="*/ 4079928 w 6971546"/>
              <a:gd name="connsiteY96" fmla="*/ 3863805 h 6851067"/>
              <a:gd name="connsiteX97" fmla="*/ 4135986 w 6971546"/>
              <a:gd name="connsiteY97" fmla="*/ 3774719 h 6851067"/>
              <a:gd name="connsiteX98" fmla="*/ 4246624 w 6971546"/>
              <a:gd name="connsiteY98" fmla="*/ 3596319 h 6851067"/>
              <a:gd name="connsiteX99" fmla="*/ 4355472 w 6971546"/>
              <a:gd name="connsiteY99" fmla="*/ 3418120 h 6851067"/>
              <a:gd name="connsiteX100" fmla="*/ 4788690 w 6971546"/>
              <a:gd name="connsiteY100" fmla="*/ 2699836 h 6851067"/>
              <a:gd name="connsiteX101" fmla="*/ 4922636 w 6971546"/>
              <a:gd name="connsiteY101" fmla="*/ 2481041 h 6851067"/>
              <a:gd name="connsiteX102" fmla="*/ 5013172 w 6971546"/>
              <a:gd name="connsiteY102" fmla="*/ 2335521 h 6851067"/>
              <a:gd name="connsiteX103" fmla="*/ 5104952 w 6971546"/>
              <a:gd name="connsiteY103" fmla="*/ 2190436 h 6851067"/>
              <a:gd name="connsiteX104" fmla="*/ 5198200 w 6971546"/>
              <a:gd name="connsiteY104" fmla="*/ 2045920 h 6851067"/>
              <a:gd name="connsiteX105" fmla="*/ 5293132 w 6971546"/>
              <a:gd name="connsiteY105" fmla="*/ 1902114 h 6851067"/>
              <a:gd name="connsiteX106" fmla="*/ 5341296 w 6971546"/>
              <a:gd name="connsiteY106" fmla="*/ 1830521 h 6851067"/>
              <a:gd name="connsiteX107" fmla="*/ 5389964 w 6971546"/>
              <a:gd name="connsiteY107" fmla="*/ 1759157 h 6851067"/>
              <a:gd name="connsiteX108" fmla="*/ 5439162 w 6971546"/>
              <a:gd name="connsiteY108" fmla="*/ 1688039 h 6851067"/>
              <a:gd name="connsiteX109" fmla="*/ 5488921 w 6971546"/>
              <a:gd name="connsiteY109" fmla="*/ 1617184 h 6851067"/>
              <a:gd name="connsiteX110" fmla="*/ 5539262 w 6971546"/>
              <a:gd name="connsiteY110" fmla="*/ 1546611 h 6851067"/>
              <a:gd name="connsiteX111" fmla="*/ 5590216 w 6971546"/>
              <a:gd name="connsiteY111" fmla="*/ 1476334 h 6851067"/>
              <a:gd name="connsiteX112" fmla="*/ 5641810 w 6971546"/>
              <a:gd name="connsiteY112" fmla="*/ 1406373 h 6851067"/>
              <a:gd name="connsiteX113" fmla="*/ 5694072 w 6971546"/>
              <a:gd name="connsiteY113" fmla="*/ 1336745 h 6851067"/>
              <a:gd name="connsiteX114" fmla="*/ 5747026 w 6971546"/>
              <a:gd name="connsiteY114" fmla="*/ 1267466 h 6851067"/>
              <a:gd name="connsiteX115" fmla="*/ 5800703 w 6971546"/>
              <a:gd name="connsiteY115" fmla="*/ 1198553 h 6851067"/>
              <a:gd name="connsiteX116" fmla="*/ 5855129 w 6971546"/>
              <a:gd name="connsiteY116" fmla="*/ 1130025 h 6851067"/>
              <a:gd name="connsiteX117" fmla="*/ 5910332 w 6971546"/>
              <a:gd name="connsiteY117" fmla="*/ 1061898 h 6851067"/>
              <a:gd name="connsiteX118" fmla="*/ 5966338 w 6971546"/>
              <a:gd name="connsiteY118" fmla="*/ 994190 h 6851067"/>
              <a:gd name="connsiteX119" fmla="*/ 6023176 w 6971546"/>
              <a:gd name="connsiteY119" fmla="*/ 926917 h 6851067"/>
              <a:gd name="connsiteX120" fmla="*/ 6080870 w 6971546"/>
              <a:gd name="connsiteY120" fmla="*/ 860096 h 6851067"/>
              <a:gd name="connsiteX121" fmla="*/ 6139454 w 6971546"/>
              <a:gd name="connsiteY121" fmla="*/ 793746 h 6851067"/>
              <a:gd name="connsiteX122" fmla="*/ 6198948 w 6971546"/>
              <a:gd name="connsiteY122" fmla="*/ 727883 h 6851067"/>
              <a:gd name="connsiteX123" fmla="*/ 6259385 w 6971546"/>
              <a:gd name="connsiteY123" fmla="*/ 662525 h 6851067"/>
              <a:gd name="connsiteX124" fmla="*/ 6320788 w 6971546"/>
              <a:gd name="connsiteY124" fmla="*/ 597687 h 6851067"/>
              <a:gd name="connsiteX125" fmla="*/ 6383186 w 6971546"/>
              <a:gd name="connsiteY125" fmla="*/ 533390 h 6851067"/>
              <a:gd name="connsiteX126" fmla="*/ 6446606 w 6971546"/>
              <a:gd name="connsiteY126" fmla="*/ 469646 h 6851067"/>
              <a:gd name="connsiteX127" fmla="*/ 6511078 w 6971546"/>
              <a:gd name="connsiteY127" fmla="*/ 406478 h 6851067"/>
              <a:gd name="connsiteX128" fmla="*/ 6576626 w 6971546"/>
              <a:gd name="connsiteY128" fmla="*/ 343901 h 6851067"/>
              <a:gd name="connsiteX129" fmla="*/ 6643276 w 6971546"/>
              <a:gd name="connsiteY129" fmla="*/ 281931 h 6851067"/>
              <a:gd name="connsiteX130" fmla="*/ 6711060 w 6971546"/>
              <a:gd name="connsiteY130" fmla="*/ 220584 h 6851067"/>
              <a:gd name="connsiteX131" fmla="*/ 6780006 w 6971546"/>
              <a:gd name="connsiteY131" fmla="*/ 159882 h 6851067"/>
              <a:gd name="connsiteX132" fmla="*/ 6850134 w 6971546"/>
              <a:gd name="connsiteY132" fmla="*/ 99839 h 6851067"/>
              <a:gd name="connsiteX133" fmla="*/ 6921479 w 6971546"/>
              <a:gd name="connsiteY133" fmla="*/ 40471 h 6851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6971546" h="6851067">
                <a:moveTo>
                  <a:pt x="6971546" y="0"/>
                </a:moveTo>
                <a:lnTo>
                  <a:pt x="6971546" y="2188516"/>
                </a:lnTo>
                <a:lnTo>
                  <a:pt x="6937991" y="2232665"/>
                </a:lnTo>
                <a:lnTo>
                  <a:pt x="6884304" y="2304872"/>
                </a:lnTo>
                <a:lnTo>
                  <a:pt x="6831236" y="2377761"/>
                </a:lnTo>
                <a:lnTo>
                  <a:pt x="6778740" y="2451318"/>
                </a:lnTo>
                <a:lnTo>
                  <a:pt x="6726770" y="2525520"/>
                </a:lnTo>
                <a:lnTo>
                  <a:pt x="6675289" y="2600359"/>
                </a:lnTo>
                <a:lnTo>
                  <a:pt x="6624246" y="2675810"/>
                </a:lnTo>
                <a:lnTo>
                  <a:pt x="6573602" y="2751863"/>
                </a:lnTo>
                <a:lnTo>
                  <a:pt x="6523311" y="2828495"/>
                </a:lnTo>
                <a:lnTo>
                  <a:pt x="6473328" y="2905694"/>
                </a:lnTo>
                <a:lnTo>
                  <a:pt x="6423610" y="2983438"/>
                </a:lnTo>
                <a:lnTo>
                  <a:pt x="6324797" y="3140510"/>
                </a:lnTo>
                <a:lnTo>
                  <a:pt x="6226516" y="3299569"/>
                </a:lnTo>
                <a:lnTo>
                  <a:pt x="6128416" y="3460487"/>
                </a:lnTo>
                <a:lnTo>
                  <a:pt x="5680557" y="4202845"/>
                </a:lnTo>
                <a:lnTo>
                  <a:pt x="5574376" y="4376013"/>
                </a:lnTo>
                <a:lnTo>
                  <a:pt x="5465287" y="4551238"/>
                </a:lnTo>
                <a:lnTo>
                  <a:pt x="5353584" y="4727228"/>
                </a:lnTo>
                <a:lnTo>
                  <a:pt x="5296844" y="4815108"/>
                </a:lnTo>
                <a:lnTo>
                  <a:pt x="5239559" y="4902699"/>
                </a:lnTo>
                <a:lnTo>
                  <a:pt x="5104496" y="5106135"/>
                </a:lnTo>
                <a:lnTo>
                  <a:pt x="5037875" y="5205072"/>
                </a:lnTo>
                <a:lnTo>
                  <a:pt x="4971784" y="5302175"/>
                </a:lnTo>
                <a:lnTo>
                  <a:pt x="4906170" y="5397459"/>
                </a:lnTo>
                <a:lnTo>
                  <a:pt x="4840972" y="5490944"/>
                </a:lnTo>
                <a:lnTo>
                  <a:pt x="4776142" y="5582643"/>
                </a:lnTo>
                <a:lnTo>
                  <a:pt x="4711617" y="5672575"/>
                </a:lnTo>
                <a:lnTo>
                  <a:pt x="4647346" y="5760752"/>
                </a:lnTo>
                <a:lnTo>
                  <a:pt x="4583268" y="5847192"/>
                </a:lnTo>
                <a:lnTo>
                  <a:pt x="4519332" y="5931910"/>
                </a:lnTo>
                <a:lnTo>
                  <a:pt x="4455479" y="6014925"/>
                </a:lnTo>
                <a:lnTo>
                  <a:pt x="4391654" y="6096252"/>
                </a:lnTo>
                <a:lnTo>
                  <a:pt x="4327800" y="6175907"/>
                </a:lnTo>
                <a:lnTo>
                  <a:pt x="4263864" y="6253905"/>
                </a:lnTo>
                <a:lnTo>
                  <a:pt x="4199787" y="6330264"/>
                </a:lnTo>
                <a:lnTo>
                  <a:pt x="4135512" y="6404997"/>
                </a:lnTo>
                <a:lnTo>
                  <a:pt x="4070987" y="6478124"/>
                </a:lnTo>
                <a:lnTo>
                  <a:pt x="4006156" y="6549659"/>
                </a:lnTo>
                <a:lnTo>
                  <a:pt x="3940959" y="6619617"/>
                </a:lnTo>
                <a:lnTo>
                  <a:pt x="3875340" y="6688018"/>
                </a:lnTo>
                <a:lnTo>
                  <a:pt x="3809247" y="6754872"/>
                </a:lnTo>
                <a:lnTo>
                  <a:pt x="3742623" y="6820201"/>
                </a:lnTo>
                <a:lnTo>
                  <a:pt x="3710117" y="6851067"/>
                </a:lnTo>
                <a:lnTo>
                  <a:pt x="0" y="6851067"/>
                </a:lnTo>
                <a:lnTo>
                  <a:pt x="84651" y="6841039"/>
                </a:lnTo>
                <a:lnTo>
                  <a:pt x="187667" y="6827649"/>
                </a:lnTo>
                <a:lnTo>
                  <a:pt x="288454" y="6813335"/>
                </a:lnTo>
                <a:lnTo>
                  <a:pt x="387054" y="6798091"/>
                </a:lnTo>
                <a:lnTo>
                  <a:pt x="483510" y="6781907"/>
                </a:lnTo>
                <a:lnTo>
                  <a:pt x="577862" y="6764777"/>
                </a:lnTo>
                <a:lnTo>
                  <a:pt x="670155" y="6746694"/>
                </a:lnTo>
                <a:lnTo>
                  <a:pt x="760426" y="6727651"/>
                </a:lnTo>
                <a:lnTo>
                  <a:pt x="848721" y="6707640"/>
                </a:lnTo>
                <a:lnTo>
                  <a:pt x="935082" y="6686654"/>
                </a:lnTo>
                <a:lnTo>
                  <a:pt x="1019547" y="6664685"/>
                </a:lnTo>
                <a:lnTo>
                  <a:pt x="1102163" y="6641728"/>
                </a:lnTo>
                <a:lnTo>
                  <a:pt x="1182964" y="6617771"/>
                </a:lnTo>
                <a:lnTo>
                  <a:pt x="1261998" y="6592813"/>
                </a:lnTo>
                <a:lnTo>
                  <a:pt x="1339308" y="6566841"/>
                </a:lnTo>
                <a:lnTo>
                  <a:pt x="1414933" y="6539851"/>
                </a:lnTo>
                <a:lnTo>
                  <a:pt x="1488915" y="6511834"/>
                </a:lnTo>
                <a:lnTo>
                  <a:pt x="1561294" y="6482785"/>
                </a:lnTo>
                <a:lnTo>
                  <a:pt x="1701419" y="6421557"/>
                </a:lnTo>
                <a:lnTo>
                  <a:pt x="1835646" y="6356106"/>
                </a:lnTo>
                <a:lnTo>
                  <a:pt x="1964300" y="6286377"/>
                </a:lnTo>
                <a:lnTo>
                  <a:pt x="2044136" y="6239342"/>
                </a:lnTo>
                <a:lnTo>
                  <a:pt x="2122044" y="6190495"/>
                </a:lnTo>
                <a:lnTo>
                  <a:pt x="2198142" y="6139825"/>
                </a:lnTo>
                <a:lnTo>
                  <a:pt x="2272539" y="6087312"/>
                </a:lnTo>
                <a:lnTo>
                  <a:pt x="2345345" y="6032942"/>
                </a:lnTo>
                <a:lnTo>
                  <a:pt x="2416678" y="5976697"/>
                </a:lnTo>
                <a:lnTo>
                  <a:pt x="2486647" y="5918565"/>
                </a:lnTo>
                <a:lnTo>
                  <a:pt x="2555365" y="5858528"/>
                </a:lnTo>
                <a:lnTo>
                  <a:pt x="2622945" y="5796570"/>
                </a:lnTo>
                <a:lnTo>
                  <a:pt x="2689497" y="5732675"/>
                </a:lnTo>
                <a:lnTo>
                  <a:pt x="2755136" y="5666828"/>
                </a:lnTo>
                <a:lnTo>
                  <a:pt x="2819971" y="5599013"/>
                </a:lnTo>
                <a:lnTo>
                  <a:pt x="2884121" y="5529215"/>
                </a:lnTo>
                <a:lnTo>
                  <a:pt x="2947691" y="5457417"/>
                </a:lnTo>
                <a:lnTo>
                  <a:pt x="3010801" y="5383602"/>
                </a:lnTo>
                <a:lnTo>
                  <a:pt x="3073554" y="5307756"/>
                </a:lnTo>
                <a:lnTo>
                  <a:pt x="3136071" y="5229864"/>
                </a:lnTo>
                <a:lnTo>
                  <a:pt x="3198459" y="5149908"/>
                </a:lnTo>
                <a:lnTo>
                  <a:pt x="3260834" y="5067873"/>
                </a:lnTo>
                <a:lnTo>
                  <a:pt x="3323306" y="4983744"/>
                </a:lnTo>
                <a:lnTo>
                  <a:pt x="3385990" y="4897504"/>
                </a:lnTo>
                <a:lnTo>
                  <a:pt x="3448996" y="4809138"/>
                </a:lnTo>
                <a:lnTo>
                  <a:pt x="3512436" y="4718631"/>
                </a:lnTo>
                <a:lnTo>
                  <a:pt x="3576424" y="4625966"/>
                </a:lnTo>
                <a:lnTo>
                  <a:pt x="3641071" y="4531128"/>
                </a:lnTo>
                <a:lnTo>
                  <a:pt x="3772797" y="4334864"/>
                </a:lnTo>
                <a:lnTo>
                  <a:pt x="3908511" y="4129718"/>
                </a:lnTo>
                <a:lnTo>
                  <a:pt x="3966217" y="4041379"/>
                </a:lnTo>
                <a:lnTo>
                  <a:pt x="4023348" y="3952716"/>
                </a:lnTo>
                <a:lnTo>
                  <a:pt x="4079928" y="3863805"/>
                </a:lnTo>
                <a:lnTo>
                  <a:pt x="4135986" y="3774719"/>
                </a:lnTo>
                <a:lnTo>
                  <a:pt x="4246624" y="3596319"/>
                </a:lnTo>
                <a:lnTo>
                  <a:pt x="4355472" y="3418120"/>
                </a:lnTo>
                <a:lnTo>
                  <a:pt x="4788690" y="2699836"/>
                </a:lnTo>
                <a:lnTo>
                  <a:pt x="4922636" y="2481041"/>
                </a:lnTo>
                <a:lnTo>
                  <a:pt x="5013172" y="2335521"/>
                </a:lnTo>
                <a:lnTo>
                  <a:pt x="5104952" y="2190436"/>
                </a:lnTo>
                <a:lnTo>
                  <a:pt x="5198200" y="2045920"/>
                </a:lnTo>
                <a:lnTo>
                  <a:pt x="5293132" y="1902114"/>
                </a:lnTo>
                <a:lnTo>
                  <a:pt x="5341296" y="1830521"/>
                </a:lnTo>
                <a:lnTo>
                  <a:pt x="5389964" y="1759157"/>
                </a:lnTo>
                <a:lnTo>
                  <a:pt x="5439162" y="1688039"/>
                </a:lnTo>
                <a:lnTo>
                  <a:pt x="5488921" y="1617184"/>
                </a:lnTo>
                <a:lnTo>
                  <a:pt x="5539262" y="1546611"/>
                </a:lnTo>
                <a:lnTo>
                  <a:pt x="5590216" y="1476334"/>
                </a:lnTo>
                <a:lnTo>
                  <a:pt x="5641810" y="1406373"/>
                </a:lnTo>
                <a:lnTo>
                  <a:pt x="5694072" y="1336745"/>
                </a:lnTo>
                <a:lnTo>
                  <a:pt x="5747026" y="1267466"/>
                </a:lnTo>
                <a:lnTo>
                  <a:pt x="5800703" y="1198553"/>
                </a:lnTo>
                <a:lnTo>
                  <a:pt x="5855129" y="1130025"/>
                </a:lnTo>
                <a:lnTo>
                  <a:pt x="5910332" y="1061898"/>
                </a:lnTo>
                <a:lnTo>
                  <a:pt x="5966338" y="994190"/>
                </a:lnTo>
                <a:lnTo>
                  <a:pt x="6023176" y="926917"/>
                </a:lnTo>
                <a:lnTo>
                  <a:pt x="6080870" y="860096"/>
                </a:lnTo>
                <a:lnTo>
                  <a:pt x="6139454" y="793746"/>
                </a:lnTo>
                <a:lnTo>
                  <a:pt x="6198948" y="727883"/>
                </a:lnTo>
                <a:lnTo>
                  <a:pt x="6259385" y="662525"/>
                </a:lnTo>
                <a:lnTo>
                  <a:pt x="6320788" y="597687"/>
                </a:lnTo>
                <a:lnTo>
                  <a:pt x="6383186" y="533390"/>
                </a:lnTo>
                <a:lnTo>
                  <a:pt x="6446606" y="469646"/>
                </a:lnTo>
                <a:lnTo>
                  <a:pt x="6511078" y="406478"/>
                </a:lnTo>
                <a:lnTo>
                  <a:pt x="6576626" y="343901"/>
                </a:lnTo>
                <a:lnTo>
                  <a:pt x="6643276" y="281931"/>
                </a:lnTo>
                <a:lnTo>
                  <a:pt x="6711060" y="220584"/>
                </a:lnTo>
                <a:lnTo>
                  <a:pt x="6780006" y="159882"/>
                </a:lnTo>
                <a:lnTo>
                  <a:pt x="6850134" y="99839"/>
                </a:lnTo>
                <a:lnTo>
                  <a:pt x="6921479" y="40471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038842C-1577-AFF7-84FE-E7378A491583}"/>
              </a:ext>
            </a:extLst>
          </p:cNvPr>
          <p:cNvSpPr/>
          <p:nvPr userDrawn="1"/>
        </p:nvSpPr>
        <p:spPr>
          <a:xfrm>
            <a:off x="9883739" y="5949538"/>
            <a:ext cx="2042592" cy="9084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4B14B8E-C96D-D221-CA62-15F41DC428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070275" y="6049534"/>
            <a:ext cx="1860962" cy="579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485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6B4BC91-8DC1-6681-0C75-EF57423EA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59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845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ED6E0-0D16-4FD1-AB43-477BFE435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8300"/>
            <a:ext cx="7783629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B91899-C483-41E9-A801-62C73EF107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1478191"/>
            <a:ext cx="11449050" cy="438821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89FBB0-F953-26E8-6937-2784A55864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898524"/>
            <a:ext cx="7783629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7F72CF-C242-2DA3-706F-40770A3AAD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786" y="0"/>
            <a:ext cx="2513739" cy="1205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99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418E856-9428-C845-DEDA-D51A958C5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8300"/>
            <a:ext cx="11449050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739079B-8B11-0961-71EA-FA93C57E7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1478191"/>
            <a:ext cx="11449050" cy="436446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48FD723-F829-AAF7-8ECE-439EC461F0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898524"/>
            <a:ext cx="11449050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</p:spTree>
    <p:extLst>
      <p:ext uri="{BB962C8B-B14F-4D97-AF65-F5344CB8AC3E}">
        <p14:creationId xmlns:p14="http://schemas.microsoft.com/office/powerpoint/2010/main" val="54089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A20C78A-A4AD-E371-1443-B8298F287D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97568" y="1712623"/>
            <a:ext cx="7422956" cy="37714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C559661-D625-B9F5-80A8-C5CF14E724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7568" y="1415661"/>
            <a:ext cx="7422956" cy="18042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1815EE7-985E-335F-AF69-8F39B1997B8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561614" y="1415661"/>
            <a:ext cx="701675" cy="7016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DD03828-2FEA-7DBB-FA11-0B49C2F378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97568" y="2668086"/>
            <a:ext cx="7422956" cy="37714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7CBDEF6-FB9F-F19A-A08F-79DCF94B69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97568" y="2371124"/>
            <a:ext cx="7422956" cy="18042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E5F943E6-1B90-0CF0-3FCC-D53C28D824C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61614" y="2371124"/>
            <a:ext cx="701675" cy="7016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AF6236F2-7E01-5259-6434-86DEB2830C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97568" y="3599799"/>
            <a:ext cx="7422956" cy="37714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55EC8C5-0D5E-189C-78A9-5A986C5D29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97568" y="3302837"/>
            <a:ext cx="7422956" cy="18042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DC94B8D-6F6D-4021-35C6-86834A2D6CB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561614" y="3302837"/>
            <a:ext cx="701675" cy="7016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9F42604-F6C2-41E7-ABA6-51962323F2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7568" y="4531512"/>
            <a:ext cx="7422956" cy="37714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C1E22A9-B898-507E-A192-89F97461FC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97568" y="4234550"/>
            <a:ext cx="7422956" cy="18042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59153EB0-C6D0-1238-07B1-CEB82707D03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561614" y="4234550"/>
            <a:ext cx="701675" cy="7016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5BCD1CA6-25D0-AB7F-62BF-14834435632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71476" y="1407308"/>
            <a:ext cx="2434778" cy="322687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C8A91F8-DBEB-C797-AA3B-E000E2673F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1475" y="4888725"/>
            <a:ext cx="2432518" cy="999869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951882-715F-C432-9DE2-D52FF041C9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8300"/>
            <a:ext cx="7783629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1AD09302-3F03-B65B-E016-E077772A86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898524"/>
            <a:ext cx="7783629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BA27E6-5FCF-C113-83D1-91828E64B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786" y="0"/>
            <a:ext cx="2513739" cy="120534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21954AB-7D89-43C1-E21F-A3C47A4DF80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97568" y="5463225"/>
            <a:ext cx="7422956" cy="37714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250220B-C4D8-06C2-C4B8-AC054C2D74F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97568" y="5166263"/>
            <a:ext cx="7422956" cy="18042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C9C320A1-B588-9674-DDF8-D21AEADF60A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3561614" y="5166263"/>
            <a:ext cx="701675" cy="7016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271E843-D4BB-4B53-BF38-C7FA0627CBDF}"/>
              </a:ext>
            </a:extLst>
          </p:cNvPr>
          <p:cNvCxnSpPr/>
          <p:nvPr userDrawn="1"/>
        </p:nvCxnSpPr>
        <p:spPr>
          <a:xfrm>
            <a:off x="3206338" y="1407308"/>
            <a:ext cx="0" cy="450697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297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9FE2C56-C7E9-86EF-15B2-6A498B0192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3353"/>
            <a:ext cx="12191999" cy="685464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30E45B3-D983-D093-2AF0-E866D7666CBB}"/>
              </a:ext>
            </a:extLst>
          </p:cNvPr>
          <p:cNvSpPr/>
          <p:nvPr userDrawn="1"/>
        </p:nvSpPr>
        <p:spPr>
          <a:xfrm>
            <a:off x="-2" y="0"/>
            <a:ext cx="12192001" cy="6854646"/>
          </a:xfrm>
          <a:prstGeom prst="rect">
            <a:avLst/>
          </a:prstGeom>
          <a:gradFill>
            <a:gsLst>
              <a:gs pos="46000">
                <a:schemeClr val="accent1">
                  <a:alpha val="0"/>
                  <a:lumMod val="0"/>
                  <a:lumOff val="100000"/>
                </a:schemeClr>
              </a:gs>
              <a:gs pos="99000">
                <a:schemeClr val="tx1">
                  <a:alpha val="74800"/>
                  <a:lumMod val="85722"/>
                  <a:lumOff val="14278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FF11969-6D74-3167-3139-FE146F4CF2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6003855"/>
            <a:ext cx="4929188" cy="196920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71B8B219-01CC-E85C-69A7-03DBC556F687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70EA01F-116F-3D13-1547-C311E7B029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797293"/>
            <a:ext cx="5512490" cy="1631707"/>
          </a:xfrm>
          <a:prstGeom prst="rect">
            <a:avLst/>
          </a:prstGeom>
        </p:spPr>
        <p:txBody>
          <a:bodyPr/>
          <a:lstStyle>
            <a:lvl1pPr>
              <a:defRPr sz="6000" b="0">
                <a:solidFill>
                  <a:schemeClr val="bg1"/>
                </a:solidFill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title for a cover slid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0A5D83B-39FB-B1FF-52FE-64BAA54DB0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23902"/>
            <a:ext cx="5512489" cy="433967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10" name="Graphic 3">
            <a:extLst>
              <a:ext uri="{FF2B5EF4-FFF2-40B4-BE49-F238E27FC236}">
                <a16:creationId xmlns:a16="http://schemas.microsoft.com/office/drawing/2014/main" id="{22D00851-3C6C-855D-A4A2-7F08A1C77B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71472" y="379412"/>
            <a:ext cx="2466730" cy="76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77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CE53F92-24B5-107A-FA60-47D82C4EAD0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3983" y="1501586"/>
            <a:ext cx="2095608" cy="4352772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EC3DC79A-840A-33DC-C034-A84604D479D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11716" y="1489889"/>
            <a:ext cx="2095608" cy="4352772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A1FE65FF-A34D-92F2-D241-4B1793D4765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49450" y="1489889"/>
            <a:ext cx="2095608" cy="4352772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587445C9-D1FD-D248-6759-9F0B5B8D724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87184" y="1489889"/>
            <a:ext cx="2095608" cy="4352772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FBE9BAF8-A3F5-8A7A-36C7-253ADCCE8AA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724917" y="1489889"/>
            <a:ext cx="2095608" cy="4352772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AFE0833D-E292-0D47-9580-DF99EA5A5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304" y="3148363"/>
            <a:ext cx="1754967" cy="22197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4217434-0712-D3C0-409F-72C9A911CF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4304" y="2624937"/>
            <a:ext cx="1754967" cy="37714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1C892872-E0D5-66AB-67B6-782FF65F10D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882037" y="3148363"/>
            <a:ext cx="1754967" cy="22197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C38C6C72-3C90-A605-87E3-CD4050AFFC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882037" y="2624937"/>
            <a:ext cx="1754967" cy="37714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DB987E73-808C-2DE3-17F2-CAADCB0096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19771" y="3148363"/>
            <a:ext cx="1754967" cy="22197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883D9B1E-D620-F75C-2833-EEB1F790058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19771" y="2624937"/>
            <a:ext cx="1754967" cy="37714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A626011B-BA66-D0F0-372F-3C326BD0CBC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57505" y="3148363"/>
            <a:ext cx="1754967" cy="22197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91B56024-7154-16A8-2479-7DBB263468A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557505" y="2624937"/>
            <a:ext cx="1754967" cy="37714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E4E7128C-4C2D-3AEB-B68E-D82EB2A269B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895238" y="3148363"/>
            <a:ext cx="1754967" cy="22197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496EC63A-FBB6-E9D9-5A16-BE59CD6CFD0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895238" y="2624937"/>
            <a:ext cx="1754967" cy="37714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18DF8A-4F96-911C-1FBF-CDB7E450A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8300"/>
            <a:ext cx="7783629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BB1B2B19-D74C-6086-AFA8-38D7D401C2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898524"/>
            <a:ext cx="7783629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5FF11C6-7723-2889-93C1-78F3460B4E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786" y="0"/>
            <a:ext cx="2513739" cy="1205345"/>
          </a:xfrm>
          <a:prstGeom prst="rect">
            <a:avLst/>
          </a:prstGeom>
        </p:spPr>
      </p:pic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EE42BFD4-DC02-4F8C-3B3A-2EE406D338A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544304" y="1695093"/>
            <a:ext cx="701675" cy="7016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B1CA0C2F-DCA5-C9BB-843B-919BCE7719C8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2882036" y="1695093"/>
            <a:ext cx="701675" cy="7016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2" name="Picture Placeholder 14">
            <a:extLst>
              <a:ext uri="{FF2B5EF4-FFF2-40B4-BE49-F238E27FC236}">
                <a16:creationId xmlns:a16="http://schemas.microsoft.com/office/drawing/2014/main" id="{BD463C53-5194-497C-75D2-2B79F47F92F4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5218517" y="1695093"/>
            <a:ext cx="701675" cy="7016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08272543-0BA5-1D4D-1C2C-9DD788E73641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7557505" y="1695093"/>
            <a:ext cx="701675" cy="7016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5B446F2A-AAEB-34F5-E4F8-2F4CA10CDE8E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9895238" y="1695093"/>
            <a:ext cx="701675" cy="7016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</p:spTree>
    <p:extLst>
      <p:ext uri="{BB962C8B-B14F-4D97-AF65-F5344CB8AC3E}">
        <p14:creationId xmlns:p14="http://schemas.microsoft.com/office/powerpoint/2010/main" val="367799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ex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D5F791A4-01F3-4B4D-8568-7F2A4499CAD2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71475" y="1479222"/>
            <a:ext cx="6570846" cy="471496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anchor="ctr"/>
          <a:lstStyle>
            <a:lvl1pPr algn="ctr"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C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981A03-B90F-4278-8F5E-8B7508EBB1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3922" y="1954319"/>
            <a:ext cx="4136604" cy="38764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2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92B42C1-EAD7-40FE-8F32-C0167A1B55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922" y="1479224"/>
            <a:ext cx="4136604" cy="2252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4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7E4B89D-26B3-57AA-084D-6C38347255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8300"/>
            <a:ext cx="7783629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FA3E630-D144-483B-2B9C-2E990A0D53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475" y="898524"/>
            <a:ext cx="7783629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29EC132-9575-9667-4297-A28C391560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786" y="0"/>
            <a:ext cx="2513739" cy="1205345"/>
          </a:xfrm>
          <a:prstGeom prst="rect">
            <a:avLst/>
          </a:prstGeom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8118C68-441C-F129-0D4A-3E8AC727D8C5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 rot="5400000">
            <a:off x="4955122" y="3836190"/>
            <a:ext cx="47160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0415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with tex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D5F791A4-01F3-4B4D-8568-7F2A4499CAD2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71475" y="1479222"/>
            <a:ext cx="6570846" cy="471496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anchor="ctr"/>
          <a:lstStyle>
            <a:lvl1pPr algn="ctr"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C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981A03-B90F-4278-8F5E-8B7508EBB1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3922" y="1954319"/>
            <a:ext cx="4136604" cy="38764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2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92B42C1-EAD7-40FE-8F32-C0167A1B55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922" y="1479224"/>
            <a:ext cx="4136604" cy="2252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4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7E4B89D-26B3-57AA-084D-6C38347255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8300"/>
            <a:ext cx="11449044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FA3E630-D144-483B-2B9C-2E990A0D53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475" y="898524"/>
            <a:ext cx="11449044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8118C68-441C-F129-0D4A-3E8AC727D8C5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 rot="5400000">
            <a:off x="4955122" y="3836190"/>
            <a:ext cx="47160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39570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sli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4">
            <a:extLst>
              <a:ext uri="{FF2B5EF4-FFF2-40B4-BE49-F238E27FC236}">
                <a16:creationId xmlns:a16="http://schemas.microsoft.com/office/drawing/2014/main" id="{2D379B94-A4E2-5696-FD27-92BBEDD6B714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371476" y="2581210"/>
            <a:ext cx="2670982" cy="32400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8870"/>
            </a:stretch>
          </a:blipFill>
          <a:ln w="6350">
            <a:noFill/>
          </a:ln>
        </p:spPr>
        <p:txBody>
          <a:bodyPr anchor="t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68EFBFC8-041C-A4B9-B9AC-68E3B387130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96529" y="2581211"/>
            <a:ext cx="2673888" cy="32400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9045"/>
            </a:stretch>
          </a:blipFill>
          <a:ln w="6350">
            <a:noFill/>
          </a:ln>
        </p:spPr>
        <p:txBody>
          <a:bodyPr anchor="t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F9A5B7A1-1822-4386-BB0D-6ADBD00868D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221583" y="2581211"/>
            <a:ext cx="2673888" cy="32400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9045"/>
            </a:stretch>
          </a:blipFill>
          <a:ln w="6350">
            <a:noFill/>
          </a:ln>
        </p:spPr>
        <p:txBody>
          <a:bodyPr anchor="t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80D4FEB-0DFB-BD78-34D3-DD20F466D5C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46637" y="2581211"/>
            <a:ext cx="2673888" cy="3240000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9045"/>
            </a:stretch>
          </a:blipFill>
          <a:ln w="6350">
            <a:noFill/>
          </a:ln>
        </p:spPr>
        <p:txBody>
          <a:bodyPr anchor="t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0963037C-9F89-5C18-12A4-D003CDE2D8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1382811" y="713758"/>
            <a:ext cx="651214" cy="65121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5186AC3-707E-AB6E-DDCB-E85E56E8B000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07865" y="713758"/>
            <a:ext cx="651214" cy="65121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B87EA100-8EAD-573A-207A-88134248AE31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7232920" y="713758"/>
            <a:ext cx="651214" cy="65121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591B5A86-8FD3-D345-8104-320435E228DB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10157974" y="713758"/>
            <a:ext cx="651214" cy="65121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0897A78-433F-3B90-2C3E-58E8D5959B7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300459" y="2157121"/>
            <a:ext cx="2670982" cy="29092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DD330D3C-D27F-9009-0283-C763CD6DA91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300459" y="1633695"/>
            <a:ext cx="267098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415110E3-1580-7A28-61AD-2C4344AE537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18226" y="2157121"/>
            <a:ext cx="2670982" cy="29092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7B29F62-1B7E-CE97-3DD8-6E975788B72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18226" y="1633695"/>
            <a:ext cx="267098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71CE35DD-D443-FBCF-9962-3E90DEFC6A2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152618" y="2157121"/>
            <a:ext cx="2670982" cy="29092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76B37031-1F0B-D18E-FD2D-7A3315AD30C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52618" y="1633695"/>
            <a:ext cx="267098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5A3F1C86-30D8-14F7-33C6-EF288982FE3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82692" y="2157121"/>
            <a:ext cx="2670982" cy="29092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A84342BA-C089-9099-CF71-EA84D83ACA6F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2692" y="1633695"/>
            <a:ext cx="267098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</p:spTree>
    <p:extLst>
      <p:ext uri="{BB962C8B-B14F-4D97-AF65-F5344CB8AC3E}">
        <p14:creationId xmlns:p14="http://schemas.microsoft.com/office/powerpoint/2010/main" val="265742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sli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4">
            <a:extLst>
              <a:ext uri="{FF2B5EF4-FFF2-40B4-BE49-F238E27FC236}">
                <a16:creationId xmlns:a16="http://schemas.microsoft.com/office/drawing/2014/main" id="{BFE13AC1-3904-AFAA-6449-C67B0C77753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31293" y="16934"/>
            <a:ext cx="3488374" cy="36000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7688"/>
            </a:stretch>
          </a:blipFill>
          <a:ln w="6350">
            <a:noFill/>
          </a:ln>
        </p:spPr>
        <p:txBody>
          <a:bodyPr anchor="t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8955BBDB-3B4B-8CCB-EB19-319350177F1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716135" y="16934"/>
            <a:ext cx="3481783" cy="36000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7688"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3B66B8-C43D-CB26-8401-1542BF401C9C}"/>
              </a:ext>
            </a:extLst>
          </p:cNvPr>
          <p:cNvSpPr/>
          <p:nvPr userDrawn="1"/>
        </p:nvSpPr>
        <p:spPr>
          <a:xfrm>
            <a:off x="-5918" y="-1"/>
            <a:ext cx="513721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CB8401E-A707-5BED-4BB2-6395014997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-1"/>
            <a:ext cx="3170741" cy="1520379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57CE736-9715-AE29-F328-641E1966C3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30266" y="4621868"/>
            <a:ext cx="2790260" cy="12326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3E36D25-935E-F0AB-C614-4CDA8E623F6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30266" y="3991909"/>
            <a:ext cx="2790260" cy="4402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9B963BE5-B62A-2BA9-66F7-0A34ABBAAF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1474" y="3848285"/>
            <a:ext cx="4389017" cy="235249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F3FE245-1D57-0326-B940-19020A75550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1474" y="2529171"/>
            <a:ext cx="4389017" cy="93763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DM Serif Display" pitchFamily="2" charset="0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132B00-E443-897D-9AF6-E50FE92EAD99}"/>
              </a:ext>
            </a:extLst>
          </p:cNvPr>
          <p:cNvSpPr txBox="1"/>
          <p:nvPr userDrawn="1"/>
        </p:nvSpPr>
        <p:spPr>
          <a:xfrm>
            <a:off x="343110" y="6384784"/>
            <a:ext cx="400050" cy="244615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DM Sans" pitchFamily="2" charset="0"/>
              <a:buNone/>
              <a:defRPr sz="800">
                <a:solidFill>
                  <a:srgbClr val="40454D"/>
                </a:solidFill>
                <a:latin typeface="DM Sans" pitchFamily="2" charset="0"/>
                <a:cs typeface="DM Sans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9pPr>
          </a:lstStyle>
          <a:p>
            <a:pPr marL="0" lvl="0" indent="0"/>
            <a:fld id="{C67458B2-126D-41DF-9342-05EBD80CAE7A}" type="slidenum">
              <a:rPr lang="en-CA" smtClean="0">
                <a:solidFill>
                  <a:schemeClr val="bg1"/>
                </a:solidFill>
                <a:latin typeface="DM Sans" pitchFamily="2" charset="0"/>
              </a:rPr>
              <a:pPr marL="0" lvl="0" indent="0"/>
              <a:t>‹#›</a:t>
            </a:fld>
            <a:endParaRPr lang="en-CA">
              <a:solidFill>
                <a:schemeClr val="bg1"/>
              </a:solidFill>
              <a:latin typeface="DM Sans" pitchFamily="2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A8342-8DE5-4D71-B4DA-1E25DAAF59C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498405" y="4621868"/>
            <a:ext cx="2790260" cy="12326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BB4C7E5-486E-95F6-0714-7298B4C00C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98405" y="3991909"/>
            <a:ext cx="2790260" cy="4402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</p:spTree>
    <p:extLst>
      <p:ext uri="{BB962C8B-B14F-4D97-AF65-F5344CB8AC3E}">
        <p14:creationId xmlns:p14="http://schemas.microsoft.com/office/powerpoint/2010/main" val="3653341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slide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43B66B8-C43D-CB26-8401-1542BF401C9C}"/>
              </a:ext>
            </a:extLst>
          </p:cNvPr>
          <p:cNvSpPr/>
          <p:nvPr userDrawn="1"/>
        </p:nvSpPr>
        <p:spPr>
          <a:xfrm>
            <a:off x="0" y="0"/>
            <a:ext cx="513721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F3FE245-1D57-0326-B940-19020A75550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1475" y="836563"/>
            <a:ext cx="4250726" cy="1080857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bg1"/>
                </a:solidFill>
                <a:latin typeface="DM Serif Display" pitchFamily="2" charset="0"/>
              </a:defRPr>
            </a:lvl1pPr>
          </a:lstStyle>
          <a:p>
            <a:pPr lvl="0"/>
            <a:r>
              <a:rPr lang="en-US"/>
              <a:t>Click here to edit </a:t>
            </a:r>
            <a:br>
              <a:rPr lang="en-US"/>
            </a:br>
            <a:r>
              <a:rPr lang="en-US"/>
              <a:t>the heading tex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B9D2D-7409-F79E-EEFC-C0337CDF661F}"/>
              </a:ext>
            </a:extLst>
          </p:cNvPr>
          <p:cNvSpPr txBox="1"/>
          <p:nvPr userDrawn="1"/>
        </p:nvSpPr>
        <p:spPr>
          <a:xfrm>
            <a:off x="343110" y="6384784"/>
            <a:ext cx="400050" cy="244615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DM Sans" pitchFamily="2" charset="0"/>
              <a:buNone/>
              <a:defRPr sz="800">
                <a:solidFill>
                  <a:srgbClr val="40454D"/>
                </a:solidFill>
                <a:latin typeface="DM Sans" pitchFamily="2" charset="0"/>
                <a:cs typeface="DM Sans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9pPr>
          </a:lstStyle>
          <a:p>
            <a:pPr marL="0" lvl="0" indent="0"/>
            <a:fld id="{C67458B2-126D-41DF-9342-05EBD80CAE7A}" type="slidenum">
              <a:rPr lang="en-CA" smtClean="0">
                <a:solidFill>
                  <a:schemeClr val="bg1"/>
                </a:solidFill>
                <a:latin typeface="DM Sans" pitchFamily="2" charset="0"/>
              </a:rPr>
              <a:pPr marL="0" lvl="0" indent="0"/>
              <a:t>‹#›</a:t>
            </a:fld>
            <a:endParaRPr lang="en-CA">
              <a:solidFill>
                <a:schemeClr val="bg1"/>
              </a:solidFill>
              <a:latin typeface="DM Sans" pitchFamily="2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7C7A444-2AFD-DB08-0F36-6DF3DBC26B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44639" y="665262"/>
            <a:ext cx="5475886" cy="37714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10B1818-C26E-FF64-F40C-3120491B38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44639" y="368300"/>
            <a:ext cx="5475886" cy="18042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5CFF0008-1A61-4E40-DE7D-B006E1C0BD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4639" y="1648731"/>
            <a:ext cx="5475886" cy="37714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7915D35E-6950-D164-C710-8309099089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4639" y="1351769"/>
            <a:ext cx="5475886" cy="18042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1D325DFF-ABEB-DF89-F48D-FF58F36B49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44639" y="2620325"/>
            <a:ext cx="5475886" cy="37714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D935402-D4FF-D758-2F65-A860DEC282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44639" y="2323363"/>
            <a:ext cx="5475886" cy="18042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6EC12ED-88BF-9823-F2AC-3D22C7A97D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44639" y="3591919"/>
            <a:ext cx="5475886" cy="37714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E0B61114-9F34-CEB5-D439-466AE9E6C8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4639" y="3294957"/>
            <a:ext cx="5475886" cy="18042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4891C073-D4B3-5CFD-07F7-BEA1E03A0C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44639" y="4563513"/>
            <a:ext cx="5475886" cy="37714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B9D38D50-AA5E-A637-FD4F-8D049C54C9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44639" y="4266551"/>
            <a:ext cx="5475886" cy="18042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A37DC-C310-44D1-00F2-3150ACAF8EC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44639" y="5535107"/>
            <a:ext cx="5475886" cy="37714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C2C4C37D-60D7-8E28-0626-3A4D313615B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44639" y="5238145"/>
            <a:ext cx="5475886" cy="18042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3C137DC5-E766-FFCF-81D1-0D152DA024E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5508685" y="368300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8658162-CD8B-C842-DE3E-4C5F56102B29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5508685" y="1351769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9FE68B02-6DEA-43B3-542C-0FF2DD3A975D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5508685" y="2323363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69CB39BE-5215-8982-9B71-D33E8C99E071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5508685" y="3290939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443C8A7D-FAE9-F83E-2D24-18A5BE99FB91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5508685" y="4266032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CCDA4E06-70B8-2C07-288C-85223F7C1CE6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5508685" y="5238145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FA3E2456-F68B-343B-CB18-CD8F31ECD684}"/>
              </a:ext>
            </a:extLst>
          </p:cNvPr>
          <p:cNvSpPr/>
          <p:nvPr userDrawn="1"/>
        </p:nvSpPr>
        <p:spPr>
          <a:xfrm>
            <a:off x="1320502" y="3107252"/>
            <a:ext cx="3816708" cy="3750749"/>
          </a:xfrm>
          <a:custGeom>
            <a:avLst/>
            <a:gdLst>
              <a:gd name="connsiteX0" fmla="*/ 6971546 w 6971546"/>
              <a:gd name="connsiteY0" fmla="*/ 0 h 6851067"/>
              <a:gd name="connsiteX1" fmla="*/ 6971546 w 6971546"/>
              <a:gd name="connsiteY1" fmla="*/ 2188516 h 6851067"/>
              <a:gd name="connsiteX2" fmla="*/ 6937991 w 6971546"/>
              <a:gd name="connsiteY2" fmla="*/ 2232665 h 6851067"/>
              <a:gd name="connsiteX3" fmla="*/ 6884304 w 6971546"/>
              <a:gd name="connsiteY3" fmla="*/ 2304872 h 6851067"/>
              <a:gd name="connsiteX4" fmla="*/ 6831236 w 6971546"/>
              <a:gd name="connsiteY4" fmla="*/ 2377761 h 6851067"/>
              <a:gd name="connsiteX5" fmla="*/ 6778740 w 6971546"/>
              <a:gd name="connsiteY5" fmla="*/ 2451318 h 6851067"/>
              <a:gd name="connsiteX6" fmla="*/ 6726770 w 6971546"/>
              <a:gd name="connsiteY6" fmla="*/ 2525520 h 6851067"/>
              <a:gd name="connsiteX7" fmla="*/ 6675289 w 6971546"/>
              <a:gd name="connsiteY7" fmla="*/ 2600359 h 6851067"/>
              <a:gd name="connsiteX8" fmla="*/ 6624246 w 6971546"/>
              <a:gd name="connsiteY8" fmla="*/ 2675810 h 6851067"/>
              <a:gd name="connsiteX9" fmla="*/ 6573602 w 6971546"/>
              <a:gd name="connsiteY9" fmla="*/ 2751863 h 6851067"/>
              <a:gd name="connsiteX10" fmla="*/ 6523311 w 6971546"/>
              <a:gd name="connsiteY10" fmla="*/ 2828495 h 6851067"/>
              <a:gd name="connsiteX11" fmla="*/ 6473328 w 6971546"/>
              <a:gd name="connsiteY11" fmla="*/ 2905694 h 6851067"/>
              <a:gd name="connsiteX12" fmla="*/ 6423610 w 6971546"/>
              <a:gd name="connsiteY12" fmla="*/ 2983438 h 6851067"/>
              <a:gd name="connsiteX13" fmla="*/ 6324797 w 6971546"/>
              <a:gd name="connsiteY13" fmla="*/ 3140510 h 6851067"/>
              <a:gd name="connsiteX14" fmla="*/ 6226516 w 6971546"/>
              <a:gd name="connsiteY14" fmla="*/ 3299569 h 6851067"/>
              <a:gd name="connsiteX15" fmla="*/ 6128416 w 6971546"/>
              <a:gd name="connsiteY15" fmla="*/ 3460487 h 6851067"/>
              <a:gd name="connsiteX16" fmla="*/ 5680557 w 6971546"/>
              <a:gd name="connsiteY16" fmla="*/ 4202845 h 6851067"/>
              <a:gd name="connsiteX17" fmla="*/ 5574376 w 6971546"/>
              <a:gd name="connsiteY17" fmla="*/ 4376013 h 6851067"/>
              <a:gd name="connsiteX18" fmla="*/ 5465287 w 6971546"/>
              <a:gd name="connsiteY18" fmla="*/ 4551238 h 6851067"/>
              <a:gd name="connsiteX19" fmla="*/ 5353584 w 6971546"/>
              <a:gd name="connsiteY19" fmla="*/ 4727228 h 6851067"/>
              <a:gd name="connsiteX20" fmla="*/ 5296844 w 6971546"/>
              <a:gd name="connsiteY20" fmla="*/ 4815108 h 6851067"/>
              <a:gd name="connsiteX21" fmla="*/ 5239559 w 6971546"/>
              <a:gd name="connsiteY21" fmla="*/ 4902699 h 6851067"/>
              <a:gd name="connsiteX22" fmla="*/ 5104496 w 6971546"/>
              <a:gd name="connsiteY22" fmla="*/ 5106135 h 6851067"/>
              <a:gd name="connsiteX23" fmla="*/ 5037875 w 6971546"/>
              <a:gd name="connsiteY23" fmla="*/ 5205072 h 6851067"/>
              <a:gd name="connsiteX24" fmla="*/ 4971784 w 6971546"/>
              <a:gd name="connsiteY24" fmla="*/ 5302175 h 6851067"/>
              <a:gd name="connsiteX25" fmla="*/ 4906170 w 6971546"/>
              <a:gd name="connsiteY25" fmla="*/ 5397459 h 6851067"/>
              <a:gd name="connsiteX26" fmla="*/ 4840972 w 6971546"/>
              <a:gd name="connsiteY26" fmla="*/ 5490944 h 6851067"/>
              <a:gd name="connsiteX27" fmla="*/ 4776142 w 6971546"/>
              <a:gd name="connsiteY27" fmla="*/ 5582643 h 6851067"/>
              <a:gd name="connsiteX28" fmla="*/ 4711617 w 6971546"/>
              <a:gd name="connsiteY28" fmla="*/ 5672575 h 6851067"/>
              <a:gd name="connsiteX29" fmla="*/ 4647346 w 6971546"/>
              <a:gd name="connsiteY29" fmla="*/ 5760752 h 6851067"/>
              <a:gd name="connsiteX30" fmla="*/ 4583268 w 6971546"/>
              <a:gd name="connsiteY30" fmla="*/ 5847192 h 6851067"/>
              <a:gd name="connsiteX31" fmla="*/ 4519332 w 6971546"/>
              <a:gd name="connsiteY31" fmla="*/ 5931910 h 6851067"/>
              <a:gd name="connsiteX32" fmla="*/ 4455479 w 6971546"/>
              <a:gd name="connsiteY32" fmla="*/ 6014925 h 6851067"/>
              <a:gd name="connsiteX33" fmla="*/ 4391654 w 6971546"/>
              <a:gd name="connsiteY33" fmla="*/ 6096252 h 6851067"/>
              <a:gd name="connsiteX34" fmla="*/ 4327800 w 6971546"/>
              <a:gd name="connsiteY34" fmla="*/ 6175907 h 6851067"/>
              <a:gd name="connsiteX35" fmla="*/ 4263864 w 6971546"/>
              <a:gd name="connsiteY35" fmla="*/ 6253905 h 6851067"/>
              <a:gd name="connsiteX36" fmla="*/ 4199787 w 6971546"/>
              <a:gd name="connsiteY36" fmla="*/ 6330264 h 6851067"/>
              <a:gd name="connsiteX37" fmla="*/ 4135512 w 6971546"/>
              <a:gd name="connsiteY37" fmla="*/ 6404997 h 6851067"/>
              <a:gd name="connsiteX38" fmla="*/ 4070987 w 6971546"/>
              <a:gd name="connsiteY38" fmla="*/ 6478124 h 6851067"/>
              <a:gd name="connsiteX39" fmla="*/ 4006156 w 6971546"/>
              <a:gd name="connsiteY39" fmla="*/ 6549659 h 6851067"/>
              <a:gd name="connsiteX40" fmla="*/ 3940959 w 6971546"/>
              <a:gd name="connsiteY40" fmla="*/ 6619617 h 6851067"/>
              <a:gd name="connsiteX41" fmla="*/ 3875340 w 6971546"/>
              <a:gd name="connsiteY41" fmla="*/ 6688018 h 6851067"/>
              <a:gd name="connsiteX42" fmla="*/ 3809247 w 6971546"/>
              <a:gd name="connsiteY42" fmla="*/ 6754872 h 6851067"/>
              <a:gd name="connsiteX43" fmla="*/ 3742623 w 6971546"/>
              <a:gd name="connsiteY43" fmla="*/ 6820201 h 6851067"/>
              <a:gd name="connsiteX44" fmla="*/ 3710117 w 6971546"/>
              <a:gd name="connsiteY44" fmla="*/ 6851067 h 6851067"/>
              <a:gd name="connsiteX45" fmla="*/ 0 w 6971546"/>
              <a:gd name="connsiteY45" fmla="*/ 6851067 h 6851067"/>
              <a:gd name="connsiteX46" fmla="*/ 84651 w 6971546"/>
              <a:gd name="connsiteY46" fmla="*/ 6841039 h 6851067"/>
              <a:gd name="connsiteX47" fmla="*/ 187667 w 6971546"/>
              <a:gd name="connsiteY47" fmla="*/ 6827649 h 6851067"/>
              <a:gd name="connsiteX48" fmla="*/ 288454 w 6971546"/>
              <a:gd name="connsiteY48" fmla="*/ 6813335 h 6851067"/>
              <a:gd name="connsiteX49" fmla="*/ 387054 w 6971546"/>
              <a:gd name="connsiteY49" fmla="*/ 6798091 h 6851067"/>
              <a:gd name="connsiteX50" fmla="*/ 483510 w 6971546"/>
              <a:gd name="connsiteY50" fmla="*/ 6781907 h 6851067"/>
              <a:gd name="connsiteX51" fmla="*/ 577862 w 6971546"/>
              <a:gd name="connsiteY51" fmla="*/ 6764777 h 6851067"/>
              <a:gd name="connsiteX52" fmla="*/ 670155 w 6971546"/>
              <a:gd name="connsiteY52" fmla="*/ 6746694 h 6851067"/>
              <a:gd name="connsiteX53" fmla="*/ 760426 w 6971546"/>
              <a:gd name="connsiteY53" fmla="*/ 6727651 h 6851067"/>
              <a:gd name="connsiteX54" fmla="*/ 848721 w 6971546"/>
              <a:gd name="connsiteY54" fmla="*/ 6707640 h 6851067"/>
              <a:gd name="connsiteX55" fmla="*/ 935082 w 6971546"/>
              <a:gd name="connsiteY55" fmla="*/ 6686654 h 6851067"/>
              <a:gd name="connsiteX56" fmla="*/ 1019547 w 6971546"/>
              <a:gd name="connsiteY56" fmla="*/ 6664685 h 6851067"/>
              <a:gd name="connsiteX57" fmla="*/ 1102163 w 6971546"/>
              <a:gd name="connsiteY57" fmla="*/ 6641728 h 6851067"/>
              <a:gd name="connsiteX58" fmla="*/ 1182964 w 6971546"/>
              <a:gd name="connsiteY58" fmla="*/ 6617771 h 6851067"/>
              <a:gd name="connsiteX59" fmla="*/ 1261998 w 6971546"/>
              <a:gd name="connsiteY59" fmla="*/ 6592813 h 6851067"/>
              <a:gd name="connsiteX60" fmla="*/ 1339308 w 6971546"/>
              <a:gd name="connsiteY60" fmla="*/ 6566841 h 6851067"/>
              <a:gd name="connsiteX61" fmla="*/ 1414933 w 6971546"/>
              <a:gd name="connsiteY61" fmla="*/ 6539851 h 6851067"/>
              <a:gd name="connsiteX62" fmla="*/ 1488915 w 6971546"/>
              <a:gd name="connsiteY62" fmla="*/ 6511834 h 6851067"/>
              <a:gd name="connsiteX63" fmla="*/ 1561294 w 6971546"/>
              <a:gd name="connsiteY63" fmla="*/ 6482785 h 6851067"/>
              <a:gd name="connsiteX64" fmla="*/ 1701419 w 6971546"/>
              <a:gd name="connsiteY64" fmla="*/ 6421557 h 6851067"/>
              <a:gd name="connsiteX65" fmla="*/ 1835646 w 6971546"/>
              <a:gd name="connsiteY65" fmla="*/ 6356106 h 6851067"/>
              <a:gd name="connsiteX66" fmla="*/ 1964300 w 6971546"/>
              <a:gd name="connsiteY66" fmla="*/ 6286377 h 6851067"/>
              <a:gd name="connsiteX67" fmla="*/ 2044136 w 6971546"/>
              <a:gd name="connsiteY67" fmla="*/ 6239342 h 6851067"/>
              <a:gd name="connsiteX68" fmla="*/ 2122044 w 6971546"/>
              <a:gd name="connsiteY68" fmla="*/ 6190495 h 6851067"/>
              <a:gd name="connsiteX69" fmla="*/ 2198142 w 6971546"/>
              <a:gd name="connsiteY69" fmla="*/ 6139825 h 6851067"/>
              <a:gd name="connsiteX70" fmla="*/ 2272539 w 6971546"/>
              <a:gd name="connsiteY70" fmla="*/ 6087312 h 6851067"/>
              <a:gd name="connsiteX71" fmla="*/ 2345345 w 6971546"/>
              <a:gd name="connsiteY71" fmla="*/ 6032942 h 6851067"/>
              <a:gd name="connsiteX72" fmla="*/ 2416678 w 6971546"/>
              <a:gd name="connsiteY72" fmla="*/ 5976697 h 6851067"/>
              <a:gd name="connsiteX73" fmla="*/ 2486647 w 6971546"/>
              <a:gd name="connsiteY73" fmla="*/ 5918565 h 6851067"/>
              <a:gd name="connsiteX74" fmla="*/ 2555365 w 6971546"/>
              <a:gd name="connsiteY74" fmla="*/ 5858528 h 6851067"/>
              <a:gd name="connsiteX75" fmla="*/ 2622945 w 6971546"/>
              <a:gd name="connsiteY75" fmla="*/ 5796570 h 6851067"/>
              <a:gd name="connsiteX76" fmla="*/ 2689497 w 6971546"/>
              <a:gd name="connsiteY76" fmla="*/ 5732675 h 6851067"/>
              <a:gd name="connsiteX77" fmla="*/ 2755136 w 6971546"/>
              <a:gd name="connsiteY77" fmla="*/ 5666828 h 6851067"/>
              <a:gd name="connsiteX78" fmla="*/ 2819971 w 6971546"/>
              <a:gd name="connsiteY78" fmla="*/ 5599013 h 6851067"/>
              <a:gd name="connsiteX79" fmla="*/ 2884121 w 6971546"/>
              <a:gd name="connsiteY79" fmla="*/ 5529215 h 6851067"/>
              <a:gd name="connsiteX80" fmla="*/ 2947691 w 6971546"/>
              <a:gd name="connsiteY80" fmla="*/ 5457417 h 6851067"/>
              <a:gd name="connsiteX81" fmla="*/ 3010801 w 6971546"/>
              <a:gd name="connsiteY81" fmla="*/ 5383602 h 6851067"/>
              <a:gd name="connsiteX82" fmla="*/ 3073554 w 6971546"/>
              <a:gd name="connsiteY82" fmla="*/ 5307756 h 6851067"/>
              <a:gd name="connsiteX83" fmla="*/ 3136071 w 6971546"/>
              <a:gd name="connsiteY83" fmla="*/ 5229864 h 6851067"/>
              <a:gd name="connsiteX84" fmla="*/ 3198459 w 6971546"/>
              <a:gd name="connsiteY84" fmla="*/ 5149908 h 6851067"/>
              <a:gd name="connsiteX85" fmla="*/ 3260834 w 6971546"/>
              <a:gd name="connsiteY85" fmla="*/ 5067873 h 6851067"/>
              <a:gd name="connsiteX86" fmla="*/ 3323306 w 6971546"/>
              <a:gd name="connsiteY86" fmla="*/ 4983744 h 6851067"/>
              <a:gd name="connsiteX87" fmla="*/ 3385990 w 6971546"/>
              <a:gd name="connsiteY87" fmla="*/ 4897504 h 6851067"/>
              <a:gd name="connsiteX88" fmla="*/ 3448996 w 6971546"/>
              <a:gd name="connsiteY88" fmla="*/ 4809138 h 6851067"/>
              <a:gd name="connsiteX89" fmla="*/ 3512436 w 6971546"/>
              <a:gd name="connsiteY89" fmla="*/ 4718631 h 6851067"/>
              <a:gd name="connsiteX90" fmla="*/ 3576424 w 6971546"/>
              <a:gd name="connsiteY90" fmla="*/ 4625966 h 6851067"/>
              <a:gd name="connsiteX91" fmla="*/ 3641071 w 6971546"/>
              <a:gd name="connsiteY91" fmla="*/ 4531128 h 6851067"/>
              <a:gd name="connsiteX92" fmla="*/ 3772797 w 6971546"/>
              <a:gd name="connsiteY92" fmla="*/ 4334864 h 6851067"/>
              <a:gd name="connsiteX93" fmla="*/ 3908511 w 6971546"/>
              <a:gd name="connsiteY93" fmla="*/ 4129718 h 6851067"/>
              <a:gd name="connsiteX94" fmla="*/ 3966217 w 6971546"/>
              <a:gd name="connsiteY94" fmla="*/ 4041379 h 6851067"/>
              <a:gd name="connsiteX95" fmla="*/ 4023348 w 6971546"/>
              <a:gd name="connsiteY95" fmla="*/ 3952716 h 6851067"/>
              <a:gd name="connsiteX96" fmla="*/ 4079928 w 6971546"/>
              <a:gd name="connsiteY96" fmla="*/ 3863805 h 6851067"/>
              <a:gd name="connsiteX97" fmla="*/ 4135986 w 6971546"/>
              <a:gd name="connsiteY97" fmla="*/ 3774719 h 6851067"/>
              <a:gd name="connsiteX98" fmla="*/ 4246624 w 6971546"/>
              <a:gd name="connsiteY98" fmla="*/ 3596319 h 6851067"/>
              <a:gd name="connsiteX99" fmla="*/ 4355472 w 6971546"/>
              <a:gd name="connsiteY99" fmla="*/ 3418120 h 6851067"/>
              <a:gd name="connsiteX100" fmla="*/ 4788690 w 6971546"/>
              <a:gd name="connsiteY100" fmla="*/ 2699836 h 6851067"/>
              <a:gd name="connsiteX101" fmla="*/ 4922636 w 6971546"/>
              <a:gd name="connsiteY101" fmla="*/ 2481041 h 6851067"/>
              <a:gd name="connsiteX102" fmla="*/ 5013172 w 6971546"/>
              <a:gd name="connsiteY102" fmla="*/ 2335521 h 6851067"/>
              <a:gd name="connsiteX103" fmla="*/ 5104952 w 6971546"/>
              <a:gd name="connsiteY103" fmla="*/ 2190436 h 6851067"/>
              <a:gd name="connsiteX104" fmla="*/ 5198200 w 6971546"/>
              <a:gd name="connsiteY104" fmla="*/ 2045920 h 6851067"/>
              <a:gd name="connsiteX105" fmla="*/ 5293132 w 6971546"/>
              <a:gd name="connsiteY105" fmla="*/ 1902114 h 6851067"/>
              <a:gd name="connsiteX106" fmla="*/ 5341296 w 6971546"/>
              <a:gd name="connsiteY106" fmla="*/ 1830521 h 6851067"/>
              <a:gd name="connsiteX107" fmla="*/ 5389964 w 6971546"/>
              <a:gd name="connsiteY107" fmla="*/ 1759157 h 6851067"/>
              <a:gd name="connsiteX108" fmla="*/ 5439162 w 6971546"/>
              <a:gd name="connsiteY108" fmla="*/ 1688039 h 6851067"/>
              <a:gd name="connsiteX109" fmla="*/ 5488921 w 6971546"/>
              <a:gd name="connsiteY109" fmla="*/ 1617184 h 6851067"/>
              <a:gd name="connsiteX110" fmla="*/ 5539262 w 6971546"/>
              <a:gd name="connsiteY110" fmla="*/ 1546611 h 6851067"/>
              <a:gd name="connsiteX111" fmla="*/ 5590216 w 6971546"/>
              <a:gd name="connsiteY111" fmla="*/ 1476334 h 6851067"/>
              <a:gd name="connsiteX112" fmla="*/ 5641810 w 6971546"/>
              <a:gd name="connsiteY112" fmla="*/ 1406373 h 6851067"/>
              <a:gd name="connsiteX113" fmla="*/ 5694072 w 6971546"/>
              <a:gd name="connsiteY113" fmla="*/ 1336745 h 6851067"/>
              <a:gd name="connsiteX114" fmla="*/ 5747026 w 6971546"/>
              <a:gd name="connsiteY114" fmla="*/ 1267466 h 6851067"/>
              <a:gd name="connsiteX115" fmla="*/ 5800703 w 6971546"/>
              <a:gd name="connsiteY115" fmla="*/ 1198553 h 6851067"/>
              <a:gd name="connsiteX116" fmla="*/ 5855129 w 6971546"/>
              <a:gd name="connsiteY116" fmla="*/ 1130025 h 6851067"/>
              <a:gd name="connsiteX117" fmla="*/ 5910332 w 6971546"/>
              <a:gd name="connsiteY117" fmla="*/ 1061898 h 6851067"/>
              <a:gd name="connsiteX118" fmla="*/ 5966338 w 6971546"/>
              <a:gd name="connsiteY118" fmla="*/ 994190 h 6851067"/>
              <a:gd name="connsiteX119" fmla="*/ 6023176 w 6971546"/>
              <a:gd name="connsiteY119" fmla="*/ 926917 h 6851067"/>
              <a:gd name="connsiteX120" fmla="*/ 6080870 w 6971546"/>
              <a:gd name="connsiteY120" fmla="*/ 860096 h 6851067"/>
              <a:gd name="connsiteX121" fmla="*/ 6139454 w 6971546"/>
              <a:gd name="connsiteY121" fmla="*/ 793746 h 6851067"/>
              <a:gd name="connsiteX122" fmla="*/ 6198948 w 6971546"/>
              <a:gd name="connsiteY122" fmla="*/ 727883 h 6851067"/>
              <a:gd name="connsiteX123" fmla="*/ 6259385 w 6971546"/>
              <a:gd name="connsiteY123" fmla="*/ 662525 h 6851067"/>
              <a:gd name="connsiteX124" fmla="*/ 6320788 w 6971546"/>
              <a:gd name="connsiteY124" fmla="*/ 597687 h 6851067"/>
              <a:gd name="connsiteX125" fmla="*/ 6383186 w 6971546"/>
              <a:gd name="connsiteY125" fmla="*/ 533390 h 6851067"/>
              <a:gd name="connsiteX126" fmla="*/ 6446606 w 6971546"/>
              <a:gd name="connsiteY126" fmla="*/ 469646 h 6851067"/>
              <a:gd name="connsiteX127" fmla="*/ 6511078 w 6971546"/>
              <a:gd name="connsiteY127" fmla="*/ 406478 h 6851067"/>
              <a:gd name="connsiteX128" fmla="*/ 6576626 w 6971546"/>
              <a:gd name="connsiteY128" fmla="*/ 343901 h 6851067"/>
              <a:gd name="connsiteX129" fmla="*/ 6643276 w 6971546"/>
              <a:gd name="connsiteY129" fmla="*/ 281931 h 6851067"/>
              <a:gd name="connsiteX130" fmla="*/ 6711060 w 6971546"/>
              <a:gd name="connsiteY130" fmla="*/ 220584 h 6851067"/>
              <a:gd name="connsiteX131" fmla="*/ 6780006 w 6971546"/>
              <a:gd name="connsiteY131" fmla="*/ 159882 h 6851067"/>
              <a:gd name="connsiteX132" fmla="*/ 6850134 w 6971546"/>
              <a:gd name="connsiteY132" fmla="*/ 99839 h 6851067"/>
              <a:gd name="connsiteX133" fmla="*/ 6921479 w 6971546"/>
              <a:gd name="connsiteY133" fmla="*/ 40471 h 6851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6971546" h="6851067">
                <a:moveTo>
                  <a:pt x="6971546" y="0"/>
                </a:moveTo>
                <a:lnTo>
                  <a:pt x="6971546" y="2188516"/>
                </a:lnTo>
                <a:lnTo>
                  <a:pt x="6937991" y="2232665"/>
                </a:lnTo>
                <a:lnTo>
                  <a:pt x="6884304" y="2304872"/>
                </a:lnTo>
                <a:lnTo>
                  <a:pt x="6831236" y="2377761"/>
                </a:lnTo>
                <a:lnTo>
                  <a:pt x="6778740" y="2451318"/>
                </a:lnTo>
                <a:lnTo>
                  <a:pt x="6726770" y="2525520"/>
                </a:lnTo>
                <a:lnTo>
                  <a:pt x="6675289" y="2600359"/>
                </a:lnTo>
                <a:lnTo>
                  <a:pt x="6624246" y="2675810"/>
                </a:lnTo>
                <a:lnTo>
                  <a:pt x="6573602" y="2751863"/>
                </a:lnTo>
                <a:lnTo>
                  <a:pt x="6523311" y="2828495"/>
                </a:lnTo>
                <a:lnTo>
                  <a:pt x="6473328" y="2905694"/>
                </a:lnTo>
                <a:lnTo>
                  <a:pt x="6423610" y="2983438"/>
                </a:lnTo>
                <a:lnTo>
                  <a:pt x="6324797" y="3140510"/>
                </a:lnTo>
                <a:lnTo>
                  <a:pt x="6226516" y="3299569"/>
                </a:lnTo>
                <a:lnTo>
                  <a:pt x="6128416" y="3460487"/>
                </a:lnTo>
                <a:lnTo>
                  <a:pt x="5680557" y="4202845"/>
                </a:lnTo>
                <a:lnTo>
                  <a:pt x="5574376" y="4376013"/>
                </a:lnTo>
                <a:lnTo>
                  <a:pt x="5465287" y="4551238"/>
                </a:lnTo>
                <a:lnTo>
                  <a:pt x="5353584" y="4727228"/>
                </a:lnTo>
                <a:lnTo>
                  <a:pt x="5296844" y="4815108"/>
                </a:lnTo>
                <a:lnTo>
                  <a:pt x="5239559" y="4902699"/>
                </a:lnTo>
                <a:lnTo>
                  <a:pt x="5104496" y="5106135"/>
                </a:lnTo>
                <a:lnTo>
                  <a:pt x="5037875" y="5205072"/>
                </a:lnTo>
                <a:lnTo>
                  <a:pt x="4971784" y="5302175"/>
                </a:lnTo>
                <a:lnTo>
                  <a:pt x="4906170" y="5397459"/>
                </a:lnTo>
                <a:lnTo>
                  <a:pt x="4840972" y="5490944"/>
                </a:lnTo>
                <a:lnTo>
                  <a:pt x="4776142" y="5582643"/>
                </a:lnTo>
                <a:lnTo>
                  <a:pt x="4711617" y="5672575"/>
                </a:lnTo>
                <a:lnTo>
                  <a:pt x="4647346" y="5760752"/>
                </a:lnTo>
                <a:lnTo>
                  <a:pt x="4583268" y="5847192"/>
                </a:lnTo>
                <a:lnTo>
                  <a:pt x="4519332" y="5931910"/>
                </a:lnTo>
                <a:lnTo>
                  <a:pt x="4455479" y="6014925"/>
                </a:lnTo>
                <a:lnTo>
                  <a:pt x="4391654" y="6096252"/>
                </a:lnTo>
                <a:lnTo>
                  <a:pt x="4327800" y="6175907"/>
                </a:lnTo>
                <a:lnTo>
                  <a:pt x="4263864" y="6253905"/>
                </a:lnTo>
                <a:lnTo>
                  <a:pt x="4199787" y="6330264"/>
                </a:lnTo>
                <a:lnTo>
                  <a:pt x="4135512" y="6404997"/>
                </a:lnTo>
                <a:lnTo>
                  <a:pt x="4070987" y="6478124"/>
                </a:lnTo>
                <a:lnTo>
                  <a:pt x="4006156" y="6549659"/>
                </a:lnTo>
                <a:lnTo>
                  <a:pt x="3940959" y="6619617"/>
                </a:lnTo>
                <a:lnTo>
                  <a:pt x="3875340" y="6688018"/>
                </a:lnTo>
                <a:lnTo>
                  <a:pt x="3809247" y="6754872"/>
                </a:lnTo>
                <a:lnTo>
                  <a:pt x="3742623" y="6820201"/>
                </a:lnTo>
                <a:lnTo>
                  <a:pt x="3710117" y="6851067"/>
                </a:lnTo>
                <a:lnTo>
                  <a:pt x="0" y="6851067"/>
                </a:lnTo>
                <a:lnTo>
                  <a:pt x="84651" y="6841039"/>
                </a:lnTo>
                <a:lnTo>
                  <a:pt x="187667" y="6827649"/>
                </a:lnTo>
                <a:lnTo>
                  <a:pt x="288454" y="6813335"/>
                </a:lnTo>
                <a:lnTo>
                  <a:pt x="387054" y="6798091"/>
                </a:lnTo>
                <a:lnTo>
                  <a:pt x="483510" y="6781907"/>
                </a:lnTo>
                <a:lnTo>
                  <a:pt x="577862" y="6764777"/>
                </a:lnTo>
                <a:lnTo>
                  <a:pt x="670155" y="6746694"/>
                </a:lnTo>
                <a:lnTo>
                  <a:pt x="760426" y="6727651"/>
                </a:lnTo>
                <a:lnTo>
                  <a:pt x="848721" y="6707640"/>
                </a:lnTo>
                <a:lnTo>
                  <a:pt x="935082" y="6686654"/>
                </a:lnTo>
                <a:lnTo>
                  <a:pt x="1019547" y="6664685"/>
                </a:lnTo>
                <a:lnTo>
                  <a:pt x="1102163" y="6641728"/>
                </a:lnTo>
                <a:lnTo>
                  <a:pt x="1182964" y="6617771"/>
                </a:lnTo>
                <a:lnTo>
                  <a:pt x="1261998" y="6592813"/>
                </a:lnTo>
                <a:lnTo>
                  <a:pt x="1339308" y="6566841"/>
                </a:lnTo>
                <a:lnTo>
                  <a:pt x="1414933" y="6539851"/>
                </a:lnTo>
                <a:lnTo>
                  <a:pt x="1488915" y="6511834"/>
                </a:lnTo>
                <a:lnTo>
                  <a:pt x="1561294" y="6482785"/>
                </a:lnTo>
                <a:lnTo>
                  <a:pt x="1701419" y="6421557"/>
                </a:lnTo>
                <a:lnTo>
                  <a:pt x="1835646" y="6356106"/>
                </a:lnTo>
                <a:lnTo>
                  <a:pt x="1964300" y="6286377"/>
                </a:lnTo>
                <a:lnTo>
                  <a:pt x="2044136" y="6239342"/>
                </a:lnTo>
                <a:lnTo>
                  <a:pt x="2122044" y="6190495"/>
                </a:lnTo>
                <a:lnTo>
                  <a:pt x="2198142" y="6139825"/>
                </a:lnTo>
                <a:lnTo>
                  <a:pt x="2272539" y="6087312"/>
                </a:lnTo>
                <a:lnTo>
                  <a:pt x="2345345" y="6032942"/>
                </a:lnTo>
                <a:lnTo>
                  <a:pt x="2416678" y="5976697"/>
                </a:lnTo>
                <a:lnTo>
                  <a:pt x="2486647" y="5918565"/>
                </a:lnTo>
                <a:lnTo>
                  <a:pt x="2555365" y="5858528"/>
                </a:lnTo>
                <a:lnTo>
                  <a:pt x="2622945" y="5796570"/>
                </a:lnTo>
                <a:lnTo>
                  <a:pt x="2689497" y="5732675"/>
                </a:lnTo>
                <a:lnTo>
                  <a:pt x="2755136" y="5666828"/>
                </a:lnTo>
                <a:lnTo>
                  <a:pt x="2819971" y="5599013"/>
                </a:lnTo>
                <a:lnTo>
                  <a:pt x="2884121" y="5529215"/>
                </a:lnTo>
                <a:lnTo>
                  <a:pt x="2947691" y="5457417"/>
                </a:lnTo>
                <a:lnTo>
                  <a:pt x="3010801" y="5383602"/>
                </a:lnTo>
                <a:lnTo>
                  <a:pt x="3073554" y="5307756"/>
                </a:lnTo>
                <a:lnTo>
                  <a:pt x="3136071" y="5229864"/>
                </a:lnTo>
                <a:lnTo>
                  <a:pt x="3198459" y="5149908"/>
                </a:lnTo>
                <a:lnTo>
                  <a:pt x="3260834" y="5067873"/>
                </a:lnTo>
                <a:lnTo>
                  <a:pt x="3323306" y="4983744"/>
                </a:lnTo>
                <a:lnTo>
                  <a:pt x="3385990" y="4897504"/>
                </a:lnTo>
                <a:lnTo>
                  <a:pt x="3448996" y="4809138"/>
                </a:lnTo>
                <a:lnTo>
                  <a:pt x="3512436" y="4718631"/>
                </a:lnTo>
                <a:lnTo>
                  <a:pt x="3576424" y="4625966"/>
                </a:lnTo>
                <a:lnTo>
                  <a:pt x="3641071" y="4531128"/>
                </a:lnTo>
                <a:lnTo>
                  <a:pt x="3772797" y="4334864"/>
                </a:lnTo>
                <a:lnTo>
                  <a:pt x="3908511" y="4129718"/>
                </a:lnTo>
                <a:lnTo>
                  <a:pt x="3966217" y="4041379"/>
                </a:lnTo>
                <a:lnTo>
                  <a:pt x="4023348" y="3952716"/>
                </a:lnTo>
                <a:lnTo>
                  <a:pt x="4079928" y="3863805"/>
                </a:lnTo>
                <a:lnTo>
                  <a:pt x="4135986" y="3774719"/>
                </a:lnTo>
                <a:lnTo>
                  <a:pt x="4246624" y="3596319"/>
                </a:lnTo>
                <a:lnTo>
                  <a:pt x="4355472" y="3418120"/>
                </a:lnTo>
                <a:lnTo>
                  <a:pt x="4788690" y="2699836"/>
                </a:lnTo>
                <a:lnTo>
                  <a:pt x="4922636" y="2481041"/>
                </a:lnTo>
                <a:lnTo>
                  <a:pt x="5013172" y="2335521"/>
                </a:lnTo>
                <a:lnTo>
                  <a:pt x="5104952" y="2190436"/>
                </a:lnTo>
                <a:lnTo>
                  <a:pt x="5198200" y="2045920"/>
                </a:lnTo>
                <a:lnTo>
                  <a:pt x="5293132" y="1902114"/>
                </a:lnTo>
                <a:lnTo>
                  <a:pt x="5341296" y="1830521"/>
                </a:lnTo>
                <a:lnTo>
                  <a:pt x="5389964" y="1759157"/>
                </a:lnTo>
                <a:lnTo>
                  <a:pt x="5439162" y="1688039"/>
                </a:lnTo>
                <a:lnTo>
                  <a:pt x="5488921" y="1617184"/>
                </a:lnTo>
                <a:lnTo>
                  <a:pt x="5539262" y="1546611"/>
                </a:lnTo>
                <a:lnTo>
                  <a:pt x="5590216" y="1476334"/>
                </a:lnTo>
                <a:lnTo>
                  <a:pt x="5641810" y="1406373"/>
                </a:lnTo>
                <a:lnTo>
                  <a:pt x="5694072" y="1336745"/>
                </a:lnTo>
                <a:lnTo>
                  <a:pt x="5747026" y="1267466"/>
                </a:lnTo>
                <a:lnTo>
                  <a:pt x="5800703" y="1198553"/>
                </a:lnTo>
                <a:lnTo>
                  <a:pt x="5855129" y="1130025"/>
                </a:lnTo>
                <a:lnTo>
                  <a:pt x="5910332" y="1061898"/>
                </a:lnTo>
                <a:lnTo>
                  <a:pt x="5966338" y="994190"/>
                </a:lnTo>
                <a:lnTo>
                  <a:pt x="6023176" y="926917"/>
                </a:lnTo>
                <a:lnTo>
                  <a:pt x="6080870" y="860096"/>
                </a:lnTo>
                <a:lnTo>
                  <a:pt x="6139454" y="793746"/>
                </a:lnTo>
                <a:lnTo>
                  <a:pt x="6198948" y="727883"/>
                </a:lnTo>
                <a:lnTo>
                  <a:pt x="6259385" y="662525"/>
                </a:lnTo>
                <a:lnTo>
                  <a:pt x="6320788" y="597687"/>
                </a:lnTo>
                <a:lnTo>
                  <a:pt x="6383186" y="533390"/>
                </a:lnTo>
                <a:lnTo>
                  <a:pt x="6446606" y="469646"/>
                </a:lnTo>
                <a:lnTo>
                  <a:pt x="6511078" y="406478"/>
                </a:lnTo>
                <a:lnTo>
                  <a:pt x="6576626" y="343901"/>
                </a:lnTo>
                <a:lnTo>
                  <a:pt x="6643276" y="281931"/>
                </a:lnTo>
                <a:lnTo>
                  <a:pt x="6711060" y="220584"/>
                </a:lnTo>
                <a:lnTo>
                  <a:pt x="6780006" y="159882"/>
                </a:lnTo>
                <a:lnTo>
                  <a:pt x="6850134" y="99839"/>
                </a:lnTo>
                <a:lnTo>
                  <a:pt x="6921479" y="40471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581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slide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1E60F91-2088-7EA1-51E0-4AB9438BA2F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 rot="16200000">
            <a:off x="6058796" y="-2105315"/>
            <a:ext cx="75600" cy="12193200"/>
          </a:xfrm>
          <a:prstGeom prst="rect">
            <a:avLst/>
          </a:prstGeom>
          <a:gradFill>
            <a:gsLst>
              <a:gs pos="0">
                <a:schemeClr val="accent2"/>
              </a:gs>
              <a:gs pos="49000">
                <a:schemeClr val="accent1"/>
              </a:gs>
            </a:gsLst>
            <a:lin ang="5400000" scaled="0"/>
          </a:gradFill>
          <a:ln w="3175"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6B1C48-EC91-27DD-0DDC-5570321B0029}"/>
              </a:ext>
            </a:extLst>
          </p:cNvPr>
          <p:cNvSpPr/>
          <p:nvPr userDrawn="1"/>
        </p:nvSpPr>
        <p:spPr>
          <a:xfrm>
            <a:off x="-2" y="4026166"/>
            <a:ext cx="12193200" cy="28318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EF061AB-E8F9-ADE4-B078-060A4DB720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5585998"/>
            <a:ext cx="2619375" cy="29092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ts val="144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DA8D03AE-30BA-9593-F7F3-00A0B32EE4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089206"/>
            <a:ext cx="2619375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1A51297-863E-9DD7-A3EF-9B64C85567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314700" y="5585998"/>
            <a:ext cx="2619375" cy="29092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ts val="144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60BB34AE-6E1F-5910-23B8-8D1CADAA214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314700" y="5089206"/>
            <a:ext cx="2619375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A222FC6-12DA-6AC1-B834-896A4FE43A8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57925" y="5585998"/>
            <a:ext cx="2619375" cy="29092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ts val="144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2104F1A0-1ECB-04B4-E40B-47591465562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57925" y="5089206"/>
            <a:ext cx="2619375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7DC15C76-768A-F8CC-13E9-27989D7CF53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201149" y="5585998"/>
            <a:ext cx="2619375" cy="29092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ts val="144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3FA8D81-02F4-F9C1-CABD-451157AF9A4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01149" y="5089206"/>
            <a:ext cx="2619375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33F01A40-2464-4C48-B6E5-A1197CB966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1475" y="368299"/>
            <a:ext cx="3181022" cy="2489825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accent3"/>
                </a:solidFill>
                <a:latin typeface="DM Serif Display" pitchFamily="2" charset="0"/>
              </a:defRPr>
            </a:lvl1pPr>
          </a:lstStyle>
          <a:p>
            <a:pPr lvl="0"/>
            <a:r>
              <a:rPr lang="en-US"/>
              <a:t>Click here to edit </a:t>
            </a:r>
            <a:br>
              <a:rPr lang="en-US"/>
            </a:br>
            <a:r>
              <a:rPr lang="en-US"/>
              <a:t>the heading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F20F71FE-5777-7500-DCE2-46A6A755642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834135" y="368299"/>
            <a:ext cx="7986389" cy="249841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EF090DE-47ED-CCB8-D86A-2CE90D38C129}"/>
              </a:ext>
            </a:extLst>
          </p:cNvPr>
          <p:cNvSpPr txBox="1"/>
          <p:nvPr userDrawn="1"/>
        </p:nvSpPr>
        <p:spPr>
          <a:xfrm>
            <a:off x="343110" y="6384784"/>
            <a:ext cx="400050" cy="244615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DM Sans" pitchFamily="2" charset="0"/>
              <a:buNone/>
              <a:defRPr sz="800">
                <a:solidFill>
                  <a:srgbClr val="40454D"/>
                </a:solidFill>
                <a:latin typeface="DM Sans" pitchFamily="2" charset="0"/>
                <a:cs typeface="DM Sans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9pPr>
          </a:lstStyle>
          <a:p>
            <a:pPr marL="0" lvl="0" indent="0"/>
            <a:fld id="{C67458B2-126D-41DF-9342-05EBD80CAE7A}" type="slidenum">
              <a:rPr lang="en-CA" smtClean="0">
                <a:solidFill>
                  <a:schemeClr val="bg1"/>
                </a:solidFill>
                <a:latin typeface="DM Sans" pitchFamily="2" charset="0"/>
              </a:rPr>
              <a:pPr marL="0" lvl="0" indent="0"/>
              <a:t>‹#›</a:t>
            </a:fld>
            <a:endParaRPr lang="en-CA">
              <a:solidFill>
                <a:schemeClr val="bg1"/>
              </a:solidFill>
              <a:latin typeface="DM Sans" pitchFamily="2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6B128B0-55C7-96B3-96D6-A93583B3C0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61717" y="6353010"/>
            <a:ext cx="1164948" cy="244639"/>
          </a:xfrm>
          <a:prstGeom prst="rect">
            <a:avLst/>
          </a:prstGeom>
        </p:spPr>
      </p:pic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0B294D2C-7E6F-D895-DB7D-8C29F8C0A25D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905224" y="3206392"/>
            <a:ext cx="1551876" cy="1551876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013F5491-7B1D-3B83-F31F-35DE277D7F67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848449" y="3206392"/>
            <a:ext cx="1551876" cy="1551876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EC7A6A53-DDE2-F379-EFE0-D91B669B023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791674" y="3206392"/>
            <a:ext cx="1551876" cy="1551876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E3029034-542F-3B44-1D52-DCBA5D6F089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734898" y="3206392"/>
            <a:ext cx="1551876" cy="1551876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C0CB0C-82D5-55AE-A338-5244EFB03E19}"/>
              </a:ext>
            </a:extLst>
          </p:cNvPr>
          <p:cNvSpPr/>
          <p:nvPr userDrawn="1"/>
        </p:nvSpPr>
        <p:spPr>
          <a:xfrm>
            <a:off x="9916676" y="5904221"/>
            <a:ext cx="2041776" cy="9084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7E4E155-8281-8A5A-35B3-196DF0690BA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9987928" y="6049534"/>
            <a:ext cx="1860962" cy="579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38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slide - 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0D47785-F7E4-61B8-E96D-2850E6688D66}"/>
              </a:ext>
            </a:extLst>
          </p:cNvPr>
          <p:cNvSpPr/>
          <p:nvPr userDrawn="1"/>
        </p:nvSpPr>
        <p:spPr>
          <a:xfrm>
            <a:off x="-2" y="4114800"/>
            <a:ext cx="9146407" cy="27431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E2B6CC4-C178-45B2-F72B-D5679AF19A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5625263"/>
            <a:ext cx="2259211" cy="5755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4F1F8C8-AFC6-964D-7456-6C98D7EE27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012397"/>
            <a:ext cx="2259211" cy="4402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58B519F-AC24-8BFC-801F-3230D79110E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1475" y="4399530"/>
            <a:ext cx="400050" cy="440225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bg1"/>
                </a:solidFill>
                <a:latin typeface="DM Serif Display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7B564F60-1150-C40C-B333-ABFCDF5E2A9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-2" y="1"/>
            <a:ext cx="3001060" cy="4114799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11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21A554B4-F35E-6440-3106-88336B61AFE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073630" y="1"/>
            <a:ext cx="3001060" cy="4114799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F24D6569-2AD5-56E8-D560-851D1647A78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145345" y="1"/>
            <a:ext cx="3001060" cy="4114799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900"/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6D38D070-78E3-A36E-E015-5394722ACD6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519501" y="1589211"/>
            <a:ext cx="2301024" cy="3436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0C73B814-385F-E363-B884-2E1E90CF4A4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519501" y="378479"/>
            <a:ext cx="2301024" cy="440225"/>
          </a:xfrm>
          <a:prstGeom prst="rect">
            <a:avLst/>
          </a:prstGeom>
        </p:spPr>
        <p:txBody>
          <a:bodyPr/>
          <a:lstStyle>
            <a:lvl1pPr>
              <a:lnSpc>
                <a:spcPts val="1800"/>
              </a:lnSpc>
              <a:spcAft>
                <a:spcPts val="0"/>
              </a:spcAft>
              <a:defRPr sz="15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</a:t>
            </a:r>
            <a:br>
              <a:rPr lang="en-US"/>
            </a:br>
            <a:r>
              <a:rPr lang="en-US"/>
              <a:t>the heading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E6BBB262-027A-A19E-B0DB-79AA14FEFF9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519501" y="2164084"/>
            <a:ext cx="2301024" cy="3436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3090E75-7B44-B867-BFEE-EA98CE63875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519501" y="2738957"/>
            <a:ext cx="2301024" cy="3436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E93BD842-3A25-DFE6-7805-1530C67F8D0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519501" y="3313830"/>
            <a:ext cx="2301024" cy="3436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2D9016BA-8EEB-AE72-5DE9-64DE1B3F1DB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519501" y="3888703"/>
            <a:ext cx="2301024" cy="3436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820F3DED-2F5E-B454-325E-AF3D941F1FD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519501" y="4463576"/>
            <a:ext cx="2301024" cy="3436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2F5252F3-7B65-7022-68FC-98466463B2C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519501" y="5038449"/>
            <a:ext cx="2301024" cy="3436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8E61521-34AC-E884-BD9E-79D22DEBE16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519501" y="5613322"/>
            <a:ext cx="2301024" cy="3436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39AFEA7-3C14-BBBD-C8D1-7A20A11938E3}"/>
              </a:ext>
            </a:extLst>
          </p:cNvPr>
          <p:cNvSpPr txBox="1"/>
          <p:nvPr userDrawn="1"/>
        </p:nvSpPr>
        <p:spPr>
          <a:xfrm>
            <a:off x="343110" y="6384784"/>
            <a:ext cx="400050" cy="244615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DM Sans" pitchFamily="2" charset="0"/>
              <a:buNone/>
              <a:defRPr sz="800">
                <a:solidFill>
                  <a:srgbClr val="40454D"/>
                </a:solidFill>
                <a:latin typeface="DM Sans" pitchFamily="2" charset="0"/>
                <a:cs typeface="DM Sans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9pPr>
          </a:lstStyle>
          <a:p>
            <a:pPr marL="0" lvl="0" indent="0"/>
            <a:fld id="{C67458B2-126D-41DF-9342-05EBD80CAE7A}" type="slidenum">
              <a:rPr lang="en-CA" smtClean="0">
                <a:solidFill>
                  <a:schemeClr val="bg1"/>
                </a:solidFill>
                <a:latin typeface="DM Sans" pitchFamily="2" charset="0"/>
              </a:rPr>
              <a:pPr marL="0" lvl="0" indent="0"/>
              <a:t>‹#›</a:t>
            </a:fld>
            <a:endParaRPr lang="en-CA">
              <a:solidFill>
                <a:schemeClr val="bg1"/>
              </a:solidFill>
              <a:latin typeface="DM Sans" pitchFamily="2" charset="0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663F5EC-A5B4-9552-14E5-8978BC93108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450737" y="5625263"/>
            <a:ext cx="2259211" cy="5755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31F1759-7875-693F-2779-470474887F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450737" y="5012397"/>
            <a:ext cx="2259211" cy="4402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6E52B5B-D72B-748B-D693-0ADEA63E6D5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450737" y="4399530"/>
            <a:ext cx="400050" cy="440225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bg1"/>
                </a:solidFill>
                <a:latin typeface="DM Serif Display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F0B4FC6-B489-1809-FC1A-E0DBFC63669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514368" y="5625263"/>
            <a:ext cx="2259211" cy="5755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692A78C-A38E-D29A-9BC1-F802D44EBB4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514368" y="5012397"/>
            <a:ext cx="2259211" cy="4402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8C5B67CF-05A0-880B-DBC0-FE9E035251E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14368" y="4399530"/>
            <a:ext cx="400050" cy="440225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bg1"/>
                </a:solidFill>
                <a:latin typeface="DM Serif Display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7A0D049-4A50-1711-7FF9-93071A6BF46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519501" y="1014338"/>
            <a:ext cx="2301024" cy="3436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</a:t>
            </a:r>
            <a:br>
              <a:rPr lang="en-US"/>
            </a:br>
            <a:r>
              <a:rPr lang="en-US"/>
              <a:t>in this section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403A74D-4AEB-000B-FD6B-9357B03B4B5E}"/>
              </a:ext>
            </a:extLst>
          </p:cNvPr>
          <p:cNvSpPr/>
          <p:nvPr userDrawn="1"/>
        </p:nvSpPr>
        <p:spPr>
          <a:xfrm rot="10800000">
            <a:off x="6078154" y="0"/>
            <a:ext cx="756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49000">
                <a:schemeClr val="accent1"/>
              </a:gs>
            </a:gsLst>
            <a:lin ang="5400000" scaled="0"/>
          </a:gradFill>
          <a:ln w="317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lvl="0" indent="0" algn="ctr">
              <a:buFont typeface="Arial" panose="020B0604020202020204" pitchFamily="34" charset="0"/>
              <a:buNone/>
            </a:pPr>
            <a:endParaRPr lang="en-US" sz="900">
              <a:solidFill>
                <a:schemeClr val="accent3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DC6BBD6-B404-AE9A-4D2C-FB1D55EE215C}"/>
              </a:ext>
            </a:extLst>
          </p:cNvPr>
          <p:cNvSpPr/>
          <p:nvPr userDrawn="1"/>
        </p:nvSpPr>
        <p:spPr>
          <a:xfrm rot="10800000">
            <a:off x="3002041" y="0"/>
            <a:ext cx="756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49000">
                <a:schemeClr val="accent1"/>
              </a:gs>
            </a:gsLst>
            <a:lin ang="5400000" scaled="0"/>
          </a:gradFill>
          <a:ln w="317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lvl="0" indent="0" algn="ctr">
              <a:buFont typeface="Arial" panose="020B0604020202020204" pitchFamily="34" charset="0"/>
              <a:buNone/>
            </a:pPr>
            <a:endParaRPr lang="en-US" sz="90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34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with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6CC755A-D327-9948-2645-B9175B226FEF}"/>
              </a:ext>
            </a:extLst>
          </p:cNvPr>
          <p:cNvSpPr/>
          <p:nvPr userDrawn="1"/>
        </p:nvSpPr>
        <p:spPr>
          <a:xfrm>
            <a:off x="-1" y="0"/>
            <a:ext cx="6096002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83F5EAA-748B-C8F3-33BC-9B179C39FA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3492424"/>
            <a:ext cx="5326240" cy="1000616"/>
          </a:xfrm>
          <a:prstGeom prst="rect">
            <a:avLst/>
          </a:prstGeom>
        </p:spPr>
        <p:txBody>
          <a:bodyPr/>
          <a:lstStyle>
            <a:lvl1pPr algn="ctr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908B30B-CB2F-7347-32BD-8F94E7AA5A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031404" y="1716313"/>
            <a:ext cx="2033192" cy="1458686"/>
          </a:xfrm>
          <a:prstGeom prst="rect">
            <a:avLst/>
          </a:prstGeom>
        </p:spPr>
        <p:txBody>
          <a:bodyPr anchor="ctr"/>
          <a:lstStyle>
            <a:lvl1pPr algn="ctr">
              <a:defRPr sz="12000">
                <a:solidFill>
                  <a:schemeClr val="bg1"/>
                </a:solidFill>
                <a:latin typeface="DM Serif Display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760C022-540B-92A1-5964-5832C886775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17029" y="1407949"/>
            <a:ext cx="5303496" cy="6167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91438DD-8F00-E480-59DD-913C847E87B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17029" y="368300"/>
            <a:ext cx="5303496" cy="853567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3"/>
                </a:solidFill>
                <a:latin typeface="DM Serif Display" pitchFamily="2" charset="0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9E7764-BDA4-DDC2-0B01-2D4B25CDA459}"/>
              </a:ext>
            </a:extLst>
          </p:cNvPr>
          <p:cNvSpPr txBox="1"/>
          <p:nvPr userDrawn="1"/>
        </p:nvSpPr>
        <p:spPr>
          <a:xfrm>
            <a:off x="343110" y="6384784"/>
            <a:ext cx="400050" cy="244615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DM Sans" pitchFamily="2" charset="0"/>
              <a:buNone/>
              <a:defRPr sz="800">
                <a:solidFill>
                  <a:srgbClr val="40454D"/>
                </a:solidFill>
                <a:latin typeface="DM Sans" pitchFamily="2" charset="0"/>
                <a:cs typeface="DM Sans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9pPr>
          </a:lstStyle>
          <a:p>
            <a:pPr marL="0" lvl="0" indent="0"/>
            <a:fld id="{C67458B2-126D-41DF-9342-05EBD80CAE7A}" type="slidenum">
              <a:rPr lang="en-CA" smtClean="0">
                <a:solidFill>
                  <a:schemeClr val="bg1"/>
                </a:solidFill>
                <a:latin typeface="DM Sans" pitchFamily="2" charset="0"/>
              </a:rPr>
              <a:pPr marL="0" lvl="0" indent="0"/>
              <a:t>‹#›</a:t>
            </a:fld>
            <a:endParaRPr lang="en-CA">
              <a:solidFill>
                <a:schemeClr val="bg1"/>
              </a:solidFill>
              <a:latin typeface="DM Sans" pitchFamily="2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AFBED6D8-80A8-8675-21CB-6147A24284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029" y="3346929"/>
            <a:ext cx="5303496" cy="6167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32DE302-4A48-1066-FE88-4230C6188D0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17029" y="2307280"/>
            <a:ext cx="5303496" cy="853567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3"/>
                </a:solidFill>
                <a:latin typeface="DM Serif Display" pitchFamily="2" charset="0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584CDA9-BDDB-74D6-6B66-6C5F3561898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029" y="5274529"/>
            <a:ext cx="5303496" cy="6167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320663A-F5CE-BDF3-5498-3E0E87A58C8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517029" y="4234880"/>
            <a:ext cx="5303496" cy="853567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3"/>
                </a:solidFill>
                <a:latin typeface="DM Serif Display" pitchFamily="2" charset="0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099F6F-E80D-8FEE-A35F-F892729117F8}"/>
              </a:ext>
            </a:extLst>
          </p:cNvPr>
          <p:cNvSpPr/>
          <p:nvPr userDrawn="1"/>
        </p:nvSpPr>
        <p:spPr>
          <a:xfrm rot="10800000">
            <a:off x="6083282" y="0"/>
            <a:ext cx="756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49000">
                <a:schemeClr val="accent1"/>
              </a:gs>
            </a:gsLst>
            <a:lin ang="5400000" scaled="0"/>
          </a:gradFill>
          <a:ln w="317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lvl="0" indent="0" algn="ctr">
              <a:buFont typeface="Arial" panose="020B0604020202020204" pitchFamily="34" charset="0"/>
              <a:buNone/>
            </a:pPr>
            <a:endParaRPr lang="en-US" sz="90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693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slide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496508B-98D7-FA55-4AE5-4F5F47C6D1FE}"/>
              </a:ext>
            </a:extLst>
          </p:cNvPr>
          <p:cNvSpPr/>
          <p:nvPr userDrawn="1"/>
        </p:nvSpPr>
        <p:spPr>
          <a:xfrm>
            <a:off x="-2" y="0"/>
            <a:ext cx="12222178" cy="13568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8C60341-9386-4FFA-C903-40E50E45A28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71475" y="5171588"/>
            <a:ext cx="11448000" cy="671292"/>
          </a:xfrm>
          <a:prstGeom prst="rect">
            <a:avLst/>
          </a:prstGeom>
        </p:spPr>
        <p:txBody>
          <a:bodyPr anchor="ctr"/>
          <a:lstStyle>
            <a:lvl1pPr algn="ctr">
              <a:defRPr sz="1200" b="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B67806C-61F9-2E7C-1515-9E174C5922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3226156"/>
            <a:ext cx="1450974" cy="125288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92264A-C952-393F-0FB1-AE451734C9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2729364"/>
            <a:ext cx="1450974" cy="377142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ACF90D25-9279-D075-168F-4D634B25BCD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371090" y="3226156"/>
            <a:ext cx="1450974" cy="125288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ECE4B6E-19ED-020F-03EF-E53093C7374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371090" y="2729364"/>
            <a:ext cx="1450974" cy="377142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13EE5993-4688-BE8F-9580-DB9646BF174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370705" y="3226156"/>
            <a:ext cx="1450974" cy="125288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8468A905-6065-BC48-4498-980858F84F7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370705" y="2729364"/>
            <a:ext cx="1450974" cy="377142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A4E4ABAB-9BEF-DA77-AEFB-D23D03B38A3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70320" y="3226156"/>
            <a:ext cx="1450974" cy="125288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0BA4A3D7-03B7-EE29-BB34-B1DBC483B51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70320" y="2729364"/>
            <a:ext cx="1450974" cy="377142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7F20AEF4-017B-B9A8-607B-921FABF1749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369935" y="3226156"/>
            <a:ext cx="1450974" cy="125288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9839BA29-CD90-B02E-F20E-94D47FF079E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369935" y="2729364"/>
            <a:ext cx="1450974" cy="377142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EA07499A-DF3A-BAF1-334B-1D7FD0F6A6C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369551" y="3226156"/>
            <a:ext cx="1450974" cy="125288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8F2BFCBB-A1F9-8D1B-E1B6-1852439E4F6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0369551" y="2729364"/>
            <a:ext cx="1450974" cy="377142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BD08CA70-1FC2-7BD4-39F3-73793BC9299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1475" y="566966"/>
            <a:ext cx="11449050" cy="470262"/>
          </a:xfrm>
          <a:prstGeom prst="rect">
            <a:avLst/>
          </a:prstGeom>
        </p:spPr>
        <p:txBody>
          <a:bodyPr/>
          <a:lstStyle>
            <a:lvl1pPr algn="ctr">
              <a:defRPr sz="3600">
                <a:solidFill>
                  <a:schemeClr val="bg1"/>
                </a:solidFill>
                <a:latin typeface="DM Serif Display" pitchFamily="2" charset="0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CBCEEF13-E7B7-8D9F-5C22-C2920FA357B6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746125" y="1731707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ED761300-8E97-7161-46B8-C6C65BECA8F4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2745740" y="1731707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F225E8FE-CCF6-ADD2-ED81-8FA0942DCBD6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4745355" y="1731707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4AF46E5D-04E3-EF38-F0B2-C103FD4D141A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6744970" y="1731707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05A77A0A-37F9-3627-1096-DB5396F8ACD9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8744585" y="1731707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B97FA408-35E3-699E-C467-5820568BB236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10744201" y="1731707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B12F4A5-ADE1-3951-1B6D-1960AC201ECD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 rot="16200000">
            <a:off x="6077475" y="-901285"/>
            <a:ext cx="36000" cy="11448000"/>
          </a:xfrm>
          <a:prstGeom prst="rect">
            <a:avLst/>
          </a:prstGeom>
          <a:gradFill>
            <a:gsLst>
              <a:gs pos="0">
                <a:schemeClr val="accent2"/>
              </a:gs>
              <a:gs pos="49000">
                <a:schemeClr val="accent1"/>
              </a:gs>
            </a:gsLst>
            <a:lin ang="5400000" scaled="0"/>
          </a:gradFill>
          <a:ln w="3175"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0436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64ECB97-43FB-60DD-DF0F-EAE1257D6E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FF11969-6D74-3167-3139-FE146F4CF2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6003855"/>
            <a:ext cx="4929188" cy="19692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86149B79-2EE2-FF5C-62B7-921E2CC54BDD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FC47C1E-46BA-488A-D000-014EDD58C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822532"/>
            <a:ext cx="5512490" cy="1631707"/>
          </a:xfrm>
          <a:prstGeom prst="rect">
            <a:avLst/>
          </a:prstGeom>
        </p:spPr>
        <p:txBody>
          <a:bodyPr/>
          <a:lstStyle>
            <a:lvl1pPr>
              <a:defRPr sz="6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title for a cover slid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E0BEC1BB-C3AF-EAC7-AB54-6156A67DC4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49141"/>
            <a:ext cx="5512489" cy="433967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2" name="Graphic 3">
            <a:extLst>
              <a:ext uri="{FF2B5EF4-FFF2-40B4-BE49-F238E27FC236}">
                <a16:creationId xmlns:a16="http://schemas.microsoft.com/office/drawing/2014/main" id="{98ACE711-97E5-DDCF-6249-8E469EFDAA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71470" y="377105"/>
            <a:ext cx="2466732" cy="76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091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4">
            <a:extLst>
              <a:ext uri="{FF2B5EF4-FFF2-40B4-BE49-F238E27FC236}">
                <a16:creationId xmlns:a16="http://schemas.microsoft.com/office/drawing/2014/main" id="{7BA5AF18-D49C-83A9-645D-004E9A26245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145344" y="0"/>
            <a:ext cx="6046655" cy="68580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D412644E-F315-5188-F8E0-8866B1E6C0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1474" y="1479223"/>
            <a:ext cx="5327121" cy="994191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1818F1A-460C-EFA7-C1E0-962EC7BA61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9729" y="1928120"/>
            <a:ext cx="3937950" cy="3990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B5DD447-3D11-9C02-CB25-A2B4C02386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89729" y="1625482"/>
            <a:ext cx="3937950" cy="16417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222EE795-3283-1A75-A82A-CCDBEA2E5E3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71474" y="2724602"/>
            <a:ext cx="5327121" cy="994191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B45903C-3A4F-5875-2A0C-BB9CA4C101C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389729" y="3173499"/>
            <a:ext cx="3937950" cy="3990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D8DF5E4-FC3E-C1BF-D82D-CC1A88A048D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389729" y="2870861"/>
            <a:ext cx="3937950" cy="16417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DA439CF9-C208-F05F-9476-38082ACE3AD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1474" y="3961205"/>
            <a:ext cx="5327121" cy="994191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6CADE74A-9B86-438D-DC93-44E0DDFD452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389729" y="4410102"/>
            <a:ext cx="3937950" cy="3990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E4B531BC-5477-FDAB-12FE-58BEDB8A71F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389729" y="4107464"/>
            <a:ext cx="3937950" cy="16417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5CD72A6E-A145-0DAD-A9EC-975C6895588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71474" y="5206584"/>
            <a:ext cx="5327121" cy="994191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AD578D11-0B32-C044-AC98-125F9715396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389729" y="5655481"/>
            <a:ext cx="3937950" cy="3990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4CAAA703-A210-A4D2-E38F-A0132BD2261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389729" y="5352843"/>
            <a:ext cx="3937950" cy="16417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ABD7380-D884-A686-C963-25D5A973B4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68300"/>
            <a:ext cx="5327122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BD702AE-40CF-5537-110E-2901605BB49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71476" y="898524"/>
            <a:ext cx="5327122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EDDF777B-1037-451E-BB8D-949ADCDE4B04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517734" y="1625481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34D08E35-EFAA-1290-C290-BC339A8D3837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517734" y="2870860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A4A276A-D36D-38D1-1F69-8B840CA7B88D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517734" y="4107463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BC67B54D-F55A-3444-3D07-9687B6BF0561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517734" y="5352842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80B1273-8F11-D4BE-7F33-6877F7C6A1AF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 rot="10800000">
            <a:off x="6070562" y="0"/>
            <a:ext cx="756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49000">
                <a:schemeClr val="accent1"/>
              </a:gs>
            </a:gsLst>
            <a:lin ang="5400000" scaled="0"/>
          </a:gradFill>
          <a:ln w="3175"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90DE80-388C-91B9-5A39-D1FA179A4F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987928" y="6049534"/>
            <a:ext cx="1860962" cy="579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51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slide 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FF7F44C4-AA35-A711-C920-490BB97E17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47737" y="6137134"/>
            <a:ext cx="1164838" cy="24461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6830764-014D-1157-B5DE-504AD283F8FC}"/>
              </a:ext>
            </a:extLst>
          </p:cNvPr>
          <p:cNvSpPr/>
          <p:nvPr userDrawn="1"/>
        </p:nvSpPr>
        <p:spPr>
          <a:xfrm>
            <a:off x="9055098" y="0"/>
            <a:ext cx="3136903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6427507-08C5-04C5-F500-AB542A78DF1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425656" y="1352093"/>
            <a:ext cx="2394870" cy="17808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144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9F15485-7BA1-63DA-8049-EF103AF7EA1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425656" y="893375"/>
            <a:ext cx="2394870" cy="362962"/>
          </a:xfrm>
          <a:prstGeom prst="rect">
            <a:avLst/>
          </a:prstGeom>
        </p:spPr>
        <p:txBody>
          <a:bodyPr/>
          <a:lstStyle>
            <a:lvl1pPr>
              <a:lnSpc>
                <a:spcPts val="1440"/>
              </a:lnSpc>
              <a:spcAft>
                <a:spcPts val="0"/>
              </a:spcAft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BA232C-609E-1509-CE0B-2C5E37FDD81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1717" y="6353010"/>
            <a:ext cx="1164948" cy="244639"/>
          </a:xfrm>
          <a:prstGeom prst="rect">
            <a:avLst/>
          </a:prstGeom>
        </p:spPr>
      </p:pic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FDA748CF-5B8F-F3FC-B3BC-7055ADE525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1474" y="1479223"/>
            <a:ext cx="8236643" cy="994191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E145B57-606C-E130-6874-6596260016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9729" y="1928120"/>
            <a:ext cx="7084420" cy="3990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892863B-2189-F94D-BAAA-991540BD1AA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89729" y="1625482"/>
            <a:ext cx="7084420" cy="16417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D80BAB34-7C4F-15FA-54B5-D6B7FE945A0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71474" y="2724602"/>
            <a:ext cx="8236643" cy="994191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FB321FB4-28E9-47BB-BABA-0F4D8FD210D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389729" y="3173499"/>
            <a:ext cx="7084420" cy="3990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17A95699-2941-83BC-60E7-2D57AA6D202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389729" y="2870861"/>
            <a:ext cx="7084420" cy="16417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39" name="Text Placeholder 26">
            <a:extLst>
              <a:ext uri="{FF2B5EF4-FFF2-40B4-BE49-F238E27FC236}">
                <a16:creationId xmlns:a16="http://schemas.microsoft.com/office/drawing/2014/main" id="{1E370CAE-7D54-2BF5-E349-80CE1E8E8F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1474" y="3961205"/>
            <a:ext cx="8236643" cy="994191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8E1F4606-00DE-B6DF-4A18-969C79C4C21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389729" y="4410102"/>
            <a:ext cx="7084420" cy="3990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64986089-0B57-CF50-969E-E27866E8AB2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389729" y="4107464"/>
            <a:ext cx="7084420" cy="16417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43" name="Text Placeholder 26">
            <a:extLst>
              <a:ext uri="{FF2B5EF4-FFF2-40B4-BE49-F238E27FC236}">
                <a16:creationId xmlns:a16="http://schemas.microsoft.com/office/drawing/2014/main" id="{8868B04D-701F-A5B6-36A5-7FF3563BA2E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71474" y="5206584"/>
            <a:ext cx="8236643" cy="994191"/>
          </a:xfrm>
          <a:prstGeom prst="rect">
            <a:avLst/>
          </a:prstGeom>
          <a:noFill/>
          <a:ln w="63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/>
            <a:r>
              <a:rPr lang="en-US"/>
              <a:t> 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D03553C5-9EA0-DCAA-FB3F-6400B5BABA6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389729" y="5655481"/>
            <a:ext cx="7084420" cy="3990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0504F0D7-BC9A-048B-78AD-5F1E2332A3F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389729" y="5352843"/>
            <a:ext cx="7084420" cy="16417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here to edit the heading text</a:t>
            </a: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AE2AEE42-14CD-CB64-8729-80A655191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8300"/>
            <a:ext cx="8236641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0A899894-0065-E678-5BEC-B06C277A85E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71475" y="898524"/>
            <a:ext cx="8236641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AF45B0C6-A67B-504D-7CA9-285546212FED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517734" y="1625481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52D6D7AE-EF68-6862-42DB-AAA2D8A59620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517734" y="2870860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9" name="Picture Placeholder 14">
            <a:extLst>
              <a:ext uri="{FF2B5EF4-FFF2-40B4-BE49-F238E27FC236}">
                <a16:creationId xmlns:a16="http://schemas.microsoft.com/office/drawing/2014/main" id="{7AF038AE-6EE2-ACB4-E665-1093F913B0ED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517734" y="4107463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30" name="Picture Placeholder 14">
            <a:extLst>
              <a:ext uri="{FF2B5EF4-FFF2-40B4-BE49-F238E27FC236}">
                <a16:creationId xmlns:a16="http://schemas.microsoft.com/office/drawing/2014/main" id="{A5F8369A-A1B0-7728-CF9B-1466B2F0786E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517734" y="5352842"/>
            <a:ext cx="701674" cy="7016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E4F5D94-6FC5-EE98-0E84-866E8B85ACAE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9425656" y="3820973"/>
            <a:ext cx="2394870" cy="17808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144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here to edit the text in this section.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F971DE6-8E72-E3CA-06C6-792B569C40C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425656" y="3362255"/>
            <a:ext cx="2394870" cy="362962"/>
          </a:xfrm>
          <a:prstGeom prst="rect">
            <a:avLst/>
          </a:prstGeom>
        </p:spPr>
        <p:txBody>
          <a:bodyPr/>
          <a:lstStyle>
            <a:lvl1pPr>
              <a:lnSpc>
                <a:spcPts val="1440"/>
              </a:lnSpc>
              <a:spcAft>
                <a:spcPts val="0"/>
              </a:spcAft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here to edit the </a:t>
            </a:r>
            <a:br>
              <a:rPr lang="en-US"/>
            </a:br>
            <a:r>
              <a:rPr lang="en-US"/>
              <a:t>heading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109604-0A10-07C1-7591-FF2A8528B96D}"/>
              </a:ext>
            </a:extLst>
          </p:cNvPr>
          <p:cNvSpPr/>
          <p:nvPr userDrawn="1"/>
        </p:nvSpPr>
        <p:spPr>
          <a:xfrm rot="10800000">
            <a:off x="9016381" y="0"/>
            <a:ext cx="756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49000">
                <a:schemeClr val="accent1"/>
              </a:gs>
            </a:gsLst>
            <a:lin ang="5400000" scaled="0"/>
          </a:gradFill>
          <a:ln w="3175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lvl="0" indent="0" algn="ctr">
              <a:buFont typeface="Arial" panose="020B0604020202020204" pitchFamily="34" charset="0"/>
              <a:buNone/>
            </a:pPr>
            <a:endParaRPr lang="en-US" sz="900">
              <a:solidFill>
                <a:schemeClr val="accent3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6E7244E-67D0-C5DD-A3BD-86CDE56C48E5}"/>
              </a:ext>
            </a:extLst>
          </p:cNvPr>
          <p:cNvSpPr/>
          <p:nvPr userDrawn="1"/>
        </p:nvSpPr>
        <p:spPr>
          <a:xfrm>
            <a:off x="9916676" y="5904221"/>
            <a:ext cx="2041776" cy="9084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41C1E4-77B2-50E7-3BE2-41F87182357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9987928" y="6049534"/>
            <a:ext cx="1860962" cy="579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40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AA79DFE-592C-7C7D-147B-3869CCB4E6E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 rot="16200000">
            <a:off x="6078596" y="-2232965"/>
            <a:ext cx="36000" cy="12193200"/>
          </a:xfrm>
          <a:prstGeom prst="rect">
            <a:avLst/>
          </a:prstGeom>
          <a:gradFill>
            <a:gsLst>
              <a:gs pos="0">
                <a:schemeClr val="accent2"/>
              </a:gs>
              <a:gs pos="49000">
                <a:schemeClr val="accent1"/>
              </a:gs>
            </a:gsLst>
            <a:lin ang="5400000" scaled="0"/>
          </a:gradFill>
          <a:ln w="3175"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1FD83F6-4BC1-76F1-44D9-5203F2A0A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278" y="4895478"/>
            <a:ext cx="148134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EB4BA4C-1127-8DBF-3A9E-D510A9EEE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4278" y="4400266"/>
            <a:ext cx="148134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1CDC0902-CD93-382A-AA28-41F1FCF2571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426698" y="2897179"/>
            <a:ext cx="148134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0B4E763-B4F6-E216-9580-A99B46B390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426698" y="2401967"/>
            <a:ext cx="148134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DB11B7CB-52B6-A4E1-6A2E-9E3A15481C6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79118" y="4895478"/>
            <a:ext cx="148134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11E7FE30-FDB3-6EEC-7C8C-CC09A8B4565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379118" y="4400266"/>
            <a:ext cx="148134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3FCF4DF5-65C6-C6D1-02CC-AA50D2DECC6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331538" y="2897179"/>
            <a:ext cx="148134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518471FD-3812-6CB8-13A8-55DD3D74271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331538" y="2401967"/>
            <a:ext cx="148134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4AF321CB-1F37-D668-8DF4-A2A9A613392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283958" y="4895478"/>
            <a:ext cx="148134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49A8B81F-7E63-61AD-445A-3546C0329F1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83958" y="4400266"/>
            <a:ext cx="148134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ED25F8B-B157-02FF-8729-3591D6C8E15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236380" y="2897179"/>
            <a:ext cx="148134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A45AFA55-604C-63B0-458D-75292C9D865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236380" y="2401967"/>
            <a:ext cx="1481342" cy="377142"/>
          </a:xfrm>
          <a:prstGeom prst="rect">
            <a:avLst/>
          </a:prstGeom>
        </p:spPr>
        <p:txBody>
          <a:bodyPr/>
          <a:lstStyle>
            <a:lvl1pPr algn="ctr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E9E4E98-49DF-DB7F-3F83-38BE3BA15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8300"/>
            <a:ext cx="7783629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413883A-C39B-0CC9-A270-EE910DC8385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71475" y="898524"/>
            <a:ext cx="7783629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53B2B63-E7F4-7152-3137-4C787253CF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786" y="0"/>
            <a:ext cx="2513739" cy="1205345"/>
          </a:xfrm>
          <a:prstGeom prst="rect">
            <a:avLst/>
          </a:prstGeom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4C1A4F4-54EB-CC0A-DAD2-ED1E804D666C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22977" y="3438905"/>
            <a:ext cx="802800" cy="802800"/>
          </a:xfrm>
          <a:custGeom>
            <a:avLst/>
            <a:gdLst>
              <a:gd name="connsiteX0" fmla="*/ 405538 w 811076"/>
              <a:gd name="connsiteY0" fmla="*/ 0 h 811076"/>
              <a:gd name="connsiteX1" fmla="*/ 811076 w 811076"/>
              <a:gd name="connsiteY1" fmla="*/ 405538 h 811076"/>
              <a:gd name="connsiteX2" fmla="*/ 405538 w 811076"/>
              <a:gd name="connsiteY2" fmla="*/ 811076 h 811076"/>
              <a:gd name="connsiteX3" fmla="*/ 0 w 811076"/>
              <a:gd name="connsiteY3" fmla="*/ 405538 h 811076"/>
              <a:gd name="connsiteX4" fmla="*/ 405538 w 811076"/>
              <a:gd name="connsiteY4" fmla="*/ 0 h 81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076" h="811076">
                <a:moveTo>
                  <a:pt x="405538" y="0"/>
                </a:moveTo>
                <a:cubicBezTo>
                  <a:pt x="629510" y="0"/>
                  <a:pt x="811076" y="181566"/>
                  <a:pt x="811076" y="405538"/>
                </a:cubicBezTo>
                <a:cubicBezTo>
                  <a:pt x="811076" y="629510"/>
                  <a:pt x="629510" y="811076"/>
                  <a:pt x="405538" y="811076"/>
                </a:cubicBezTo>
                <a:cubicBezTo>
                  <a:pt x="181566" y="811076"/>
                  <a:pt x="0" y="629510"/>
                  <a:pt x="0" y="405538"/>
                </a:cubicBezTo>
                <a:cubicBezTo>
                  <a:pt x="0" y="181566"/>
                  <a:pt x="181566" y="0"/>
                  <a:pt x="40553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5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35F40CF-E402-3E0C-6C8C-34AD7BD5819E}"/>
              </a:ext>
            </a:extLst>
          </p:cNvPr>
          <p:cNvSpPr>
            <a:spLocks noGrp="1"/>
          </p:cNvSpPr>
          <p:nvPr>
            <p:ph type="pic" sz="quarter" idx="75" hasCustomPrompt="1"/>
          </p:nvPr>
        </p:nvSpPr>
        <p:spPr>
          <a:xfrm>
            <a:off x="823792" y="3438905"/>
            <a:ext cx="801170" cy="802800"/>
          </a:xfrm>
          <a:custGeom>
            <a:avLst/>
            <a:gdLst>
              <a:gd name="connsiteX0" fmla="*/ 978613 w 1957226"/>
              <a:gd name="connsiteY0" fmla="*/ 0 h 1957226"/>
              <a:gd name="connsiteX1" fmla="*/ 1957226 w 1957226"/>
              <a:gd name="connsiteY1" fmla="*/ 978613 h 1957226"/>
              <a:gd name="connsiteX2" fmla="*/ 978613 w 1957226"/>
              <a:gd name="connsiteY2" fmla="*/ 1957226 h 1957226"/>
              <a:gd name="connsiteX3" fmla="*/ 0 w 1957226"/>
              <a:gd name="connsiteY3" fmla="*/ 978613 h 1957226"/>
              <a:gd name="connsiteX4" fmla="*/ 978613 w 1957226"/>
              <a:gd name="connsiteY4" fmla="*/ 0 h 1957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7226" h="1957226">
                <a:moveTo>
                  <a:pt x="978613" y="0"/>
                </a:moveTo>
                <a:cubicBezTo>
                  <a:pt x="1519086" y="0"/>
                  <a:pt x="1957226" y="438140"/>
                  <a:pt x="1957226" y="978613"/>
                </a:cubicBezTo>
                <a:cubicBezTo>
                  <a:pt x="1957226" y="1519086"/>
                  <a:pt x="1519086" y="1957226"/>
                  <a:pt x="978613" y="1957226"/>
                </a:cubicBezTo>
                <a:cubicBezTo>
                  <a:pt x="438140" y="1957226"/>
                  <a:pt x="0" y="1519086"/>
                  <a:pt x="0" y="978613"/>
                </a:cubicBezTo>
                <a:cubicBezTo>
                  <a:pt x="0" y="438140"/>
                  <a:pt x="438140" y="0"/>
                  <a:pt x="978613" y="0"/>
                </a:cubicBezTo>
                <a:close/>
              </a:path>
            </a:pathLst>
          </a:custGeom>
          <a:solidFill>
            <a:schemeClr val="bg1"/>
          </a:solidFill>
          <a:ln w="15875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7A1A2608-1A98-B447-724F-3A2D5EDDA2FF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2766077" y="3438905"/>
            <a:ext cx="802800" cy="802800"/>
          </a:xfrm>
          <a:custGeom>
            <a:avLst/>
            <a:gdLst>
              <a:gd name="connsiteX0" fmla="*/ 405538 w 811076"/>
              <a:gd name="connsiteY0" fmla="*/ 0 h 811076"/>
              <a:gd name="connsiteX1" fmla="*/ 811076 w 811076"/>
              <a:gd name="connsiteY1" fmla="*/ 405538 h 811076"/>
              <a:gd name="connsiteX2" fmla="*/ 405538 w 811076"/>
              <a:gd name="connsiteY2" fmla="*/ 811076 h 811076"/>
              <a:gd name="connsiteX3" fmla="*/ 0 w 811076"/>
              <a:gd name="connsiteY3" fmla="*/ 405538 h 811076"/>
              <a:gd name="connsiteX4" fmla="*/ 405538 w 811076"/>
              <a:gd name="connsiteY4" fmla="*/ 0 h 81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076" h="811076">
                <a:moveTo>
                  <a:pt x="405538" y="0"/>
                </a:moveTo>
                <a:cubicBezTo>
                  <a:pt x="629510" y="0"/>
                  <a:pt x="811076" y="181566"/>
                  <a:pt x="811076" y="405538"/>
                </a:cubicBezTo>
                <a:cubicBezTo>
                  <a:pt x="811076" y="629510"/>
                  <a:pt x="629510" y="811076"/>
                  <a:pt x="405538" y="811076"/>
                </a:cubicBezTo>
                <a:cubicBezTo>
                  <a:pt x="181566" y="811076"/>
                  <a:pt x="0" y="629510"/>
                  <a:pt x="0" y="405538"/>
                </a:cubicBezTo>
                <a:cubicBezTo>
                  <a:pt x="0" y="181566"/>
                  <a:pt x="181566" y="0"/>
                  <a:pt x="40553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5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047D65BC-A7D6-99CA-B02E-5757CE2C17A2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2766892" y="3438905"/>
            <a:ext cx="801170" cy="802800"/>
          </a:xfrm>
          <a:custGeom>
            <a:avLst/>
            <a:gdLst>
              <a:gd name="connsiteX0" fmla="*/ 978613 w 1957226"/>
              <a:gd name="connsiteY0" fmla="*/ 0 h 1957226"/>
              <a:gd name="connsiteX1" fmla="*/ 1957226 w 1957226"/>
              <a:gd name="connsiteY1" fmla="*/ 978613 h 1957226"/>
              <a:gd name="connsiteX2" fmla="*/ 978613 w 1957226"/>
              <a:gd name="connsiteY2" fmla="*/ 1957226 h 1957226"/>
              <a:gd name="connsiteX3" fmla="*/ 0 w 1957226"/>
              <a:gd name="connsiteY3" fmla="*/ 978613 h 1957226"/>
              <a:gd name="connsiteX4" fmla="*/ 978613 w 1957226"/>
              <a:gd name="connsiteY4" fmla="*/ 0 h 1957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7226" h="1957226">
                <a:moveTo>
                  <a:pt x="978613" y="0"/>
                </a:moveTo>
                <a:cubicBezTo>
                  <a:pt x="1519086" y="0"/>
                  <a:pt x="1957226" y="438140"/>
                  <a:pt x="1957226" y="978613"/>
                </a:cubicBezTo>
                <a:cubicBezTo>
                  <a:pt x="1957226" y="1519086"/>
                  <a:pt x="1519086" y="1957226"/>
                  <a:pt x="978613" y="1957226"/>
                </a:cubicBezTo>
                <a:cubicBezTo>
                  <a:pt x="438140" y="1957226"/>
                  <a:pt x="0" y="1519086"/>
                  <a:pt x="0" y="978613"/>
                </a:cubicBezTo>
                <a:cubicBezTo>
                  <a:pt x="0" y="438140"/>
                  <a:pt x="438140" y="0"/>
                  <a:pt x="978613" y="0"/>
                </a:cubicBezTo>
                <a:close/>
              </a:path>
            </a:pathLst>
          </a:custGeom>
          <a:solidFill>
            <a:schemeClr val="bg1"/>
          </a:solidFill>
          <a:ln w="15875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33F2F9E-7DEF-183D-F186-A74B02D0487A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709177" y="3438905"/>
            <a:ext cx="802800" cy="802800"/>
          </a:xfrm>
          <a:custGeom>
            <a:avLst/>
            <a:gdLst>
              <a:gd name="connsiteX0" fmla="*/ 405538 w 811076"/>
              <a:gd name="connsiteY0" fmla="*/ 0 h 811076"/>
              <a:gd name="connsiteX1" fmla="*/ 811076 w 811076"/>
              <a:gd name="connsiteY1" fmla="*/ 405538 h 811076"/>
              <a:gd name="connsiteX2" fmla="*/ 405538 w 811076"/>
              <a:gd name="connsiteY2" fmla="*/ 811076 h 811076"/>
              <a:gd name="connsiteX3" fmla="*/ 0 w 811076"/>
              <a:gd name="connsiteY3" fmla="*/ 405538 h 811076"/>
              <a:gd name="connsiteX4" fmla="*/ 405538 w 811076"/>
              <a:gd name="connsiteY4" fmla="*/ 0 h 81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076" h="811076">
                <a:moveTo>
                  <a:pt x="405538" y="0"/>
                </a:moveTo>
                <a:cubicBezTo>
                  <a:pt x="629510" y="0"/>
                  <a:pt x="811076" y="181566"/>
                  <a:pt x="811076" y="405538"/>
                </a:cubicBezTo>
                <a:cubicBezTo>
                  <a:pt x="811076" y="629510"/>
                  <a:pt x="629510" y="811076"/>
                  <a:pt x="405538" y="811076"/>
                </a:cubicBezTo>
                <a:cubicBezTo>
                  <a:pt x="181566" y="811076"/>
                  <a:pt x="0" y="629510"/>
                  <a:pt x="0" y="405538"/>
                </a:cubicBezTo>
                <a:cubicBezTo>
                  <a:pt x="0" y="181566"/>
                  <a:pt x="181566" y="0"/>
                  <a:pt x="40553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5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FDE9BFAB-7A4F-B921-108B-06DC333F3192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4709992" y="3438905"/>
            <a:ext cx="801170" cy="802800"/>
          </a:xfrm>
          <a:custGeom>
            <a:avLst/>
            <a:gdLst>
              <a:gd name="connsiteX0" fmla="*/ 978613 w 1957226"/>
              <a:gd name="connsiteY0" fmla="*/ 0 h 1957226"/>
              <a:gd name="connsiteX1" fmla="*/ 1957226 w 1957226"/>
              <a:gd name="connsiteY1" fmla="*/ 978613 h 1957226"/>
              <a:gd name="connsiteX2" fmla="*/ 978613 w 1957226"/>
              <a:gd name="connsiteY2" fmla="*/ 1957226 h 1957226"/>
              <a:gd name="connsiteX3" fmla="*/ 0 w 1957226"/>
              <a:gd name="connsiteY3" fmla="*/ 978613 h 1957226"/>
              <a:gd name="connsiteX4" fmla="*/ 978613 w 1957226"/>
              <a:gd name="connsiteY4" fmla="*/ 0 h 1957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7226" h="1957226">
                <a:moveTo>
                  <a:pt x="978613" y="0"/>
                </a:moveTo>
                <a:cubicBezTo>
                  <a:pt x="1519086" y="0"/>
                  <a:pt x="1957226" y="438140"/>
                  <a:pt x="1957226" y="978613"/>
                </a:cubicBezTo>
                <a:cubicBezTo>
                  <a:pt x="1957226" y="1519086"/>
                  <a:pt x="1519086" y="1957226"/>
                  <a:pt x="978613" y="1957226"/>
                </a:cubicBezTo>
                <a:cubicBezTo>
                  <a:pt x="438140" y="1957226"/>
                  <a:pt x="0" y="1519086"/>
                  <a:pt x="0" y="978613"/>
                </a:cubicBezTo>
                <a:cubicBezTo>
                  <a:pt x="0" y="438140"/>
                  <a:pt x="438140" y="0"/>
                  <a:pt x="978613" y="0"/>
                </a:cubicBezTo>
                <a:close/>
              </a:path>
            </a:pathLst>
          </a:custGeom>
          <a:solidFill>
            <a:schemeClr val="bg1"/>
          </a:solidFill>
          <a:ln w="15875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BF3DE7EF-D450-1177-8DB8-85ABB6E67731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6675137" y="3438905"/>
            <a:ext cx="802800" cy="802800"/>
          </a:xfrm>
          <a:custGeom>
            <a:avLst/>
            <a:gdLst>
              <a:gd name="connsiteX0" fmla="*/ 405538 w 811076"/>
              <a:gd name="connsiteY0" fmla="*/ 0 h 811076"/>
              <a:gd name="connsiteX1" fmla="*/ 811076 w 811076"/>
              <a:gd name="connsiteY1" fmla="*/ 405538 h 811076"/>
              <a:gd name="connsiteX2" fmla="*/ 405538 w 811076"/>
              <a:gd name="connsiteY2" fmla="*/ 811076 h 811076"/>
              <a:gd name="connsiteX3" fmla="*/ 0 w 811076"/>
              <a:gd name="connsiteY3" fmla="*/ 405538 h 811076"/>
              <a:gd name="connsiteX4" fmla="*/ 405538 w 811076"/>
              <a:gd name="connsiteY4" fmla="*/ 0 h 81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076" h="811076">
                <a:moveTo>
                  <a:pt x="405538" y="0"/>
                </a:moveTo>
                <a:cubicBezTo>
                  <a:pt x="629510" y="0"/>
                  <a:pt x="811076" y="181566"/>
                  <a:pt x="811076" y="405538"/>
                </a:cubicBezTo>
                <a:cubicBezTo>
                  <a:pt x="811076" y="629510"/>
                  <a:pt x="629510" y="811076"/>
                  <a:pt x="405538" y="811076"/>
                </a:cubicBezTo>
                <a:cubicBezTo>
                  <a:pt x="181566" y="811076"/>
                  <a:pt x="0" y="629510"/>
                  <a:pt x="0" y="405538"/>
                </a:cubicBezTo>
                <a:cubicBezTo>
                  <a:pt x="0" y="181566"/>
                  <a:pt x="181566" y="0"/>
                  <a:pt x="40553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5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43C67F0C-1072-B827-170D-76F96ACD0306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6675952" y="3438905"/>
            <a:ext cx="801170" cy="802800"/>
          </a:xfrm>
          <a:custGeom>
            <a:avLst/>
            <a:gdLst>
              <a:gd name="connsiteX0" fmla="*/ 978613 w 1957226"/>
              <a:gd name="connsiteY0" fmla="*/ 0 h 1957226"/>
              <a:gd name="connsiteX1" fmla="*/ 1957226 w 1957226"/>
              <a:gd name="connsiteY1" fmla="*/ 978613 h 1957226"/>
              <a:gd name="connsiteX2" fmla="*/ 978613 w 1957226"/>
              <a:gd name="connsiteY2" fmla="*/ 1957226 h 1957226"/>
              <a:gd name="connsiteX3" fmla="*/ 0 w 1957226"/>
              <a:gd name="connsiteY3" fmla="*/ 978613 h 1957226"/>
              <a:gd name="connsiteX4" fmla="*/ 978613 w 1957226"/>
              <a:gd name="connsiteY4" fmla="*/ 0 h 1957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7226" h="1957226">
                <a:moveTo>
                  <a:pt x="978613" y="0"/>
                </a:moveTo>
                <a:cubicBezTo>
                  <a:pt x="1519086" y="0"/>
                  <a:pt x="1957226" y="438140"/>
                  <a:pt x="1957226" y="978613"/>
                </a:cubicBezTo>
                <a:cubicBezTo>
                  <a:pt x="1957226" y="1519086"/>
                  <a:pt x="1519086" y="1957226"/>
                  <a:pt x="978613" y="1957226"/>
                </a:cubicBezTo>
                <a:cubicBezTo>
                  <a:pt x="438140" y="1957226"/>
                  <a:pt x="0" y="1519086"/>
                  <a:pt x="0" y="978613"/>
                </a:cubicBezTo>
                <a:cubicBezTo>
                  <a:pt x="0" y="438140"/>
                  <a:pt x="438140" y="0"/>
                  <a:pt x="978613" y="0"/>
                </a:cubicBezTo>
                <a:close/>
              </a:path>
            </a:pathLst>
          </a:custGeom>
          <a:solidFill>
            <a:schemeClr val="bg1"/>
          </a:solidFill>
          <a:ln w="15875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C4A8BE8C-3D14-B1C1-D2D4-6179AC638C65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625857" y="3438905"/>
            <a:ext cx="802800" cy="802800"/>
          </a:xfrm>
          <a:custGeom>
            <a:avLst/>
            <a:gdLst>
              <a:gd name="connsiteX0" fmla="*/ 405538 w 811076"/>
              <a:gd name="connsiteY0" fmla="*/ 0 h 811076"/>
              <a:gd name="connsiteX1" fmla="*/ 811076 w 811076"/>
              <a:gd name="connsiteY1" fmla="*/ 405538 h 811076"/>
              <a:gd name="connsiteX2" fmla="*/ 405538 w 811076"/>
              <a:gd name="connsiteY2" fmla="*/ 811076 h 811076"/>
              <a:gd name="connsiteX3" fmla="*/ 0 w 811076"/>
              <a:gd name="connsiteY3" fmla="*/ 405538 h 811076"/>
              <a:gd name="connsiteX4" fmla="*/ 405538 w 811076"/>
              <a:gd name="connsiteY4" fmla="*/ 0 h 81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076" h="811076">
                <a:moveTo>
                  <a:pt x="405538" y="0"/>
                </a:moveTo>
                <a:cubicBezTo>
                  <a:pt x="629510" y="0"/>
                  <a:pt x="811076" y="181566"/>
                  <a:pt x="811076" y="405538"/>
                </a:cubicBezTo>
                <a:cubicBezTo>
                  <a:pt x="811076" y="629510"/>
                  <a:pt x="629510" y="811076"/>
                  <a:pt x="405538" y="811076"/>
                </a:cubicBezTo>
                <a:cubicBezTo>
                  <a:pt x="181566" y="811076"/>
                  <a:pt x="0" y="629510"/>
                  <a:pt x="0" y="405538"/>
                </a:cubicBezTo>
                <a:cubicBezTo>
                  <a:pt x="0" y="181566"/>
                  <a:pt x="181566" y="0"/>
                  <a:pt x="40553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5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9B077FCC-B90B-DE7B-B61A-E8BC82817A6A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8626672" y="3438905"/>
            <a:ext cx="801170" cy="802800"/>
          </a:xfrm>
          <a:custGeom>
            <a:avLst/>
            <a:gdLst>
              <a:gd name="connsiteX0" fmla="*/ 978613 w 1957226"/>
              <a:gd name="connsiteY0" fmla="*/ 0 h 1957226"/>
              <a:gd name="connsiteX1" fmla="*/ 1957226 w 1957226"/>
              <a:gd name="connsiteY1" fmla="*/ 978613 h 1957226"/>
              <a:gd name="connsiteX2" fmla="*/ 978613 w 1957226"/>
              <a:gd name="connsiteY2" fmla="*/ 1957226 h 1957226"/>
              <a:gd name="connsiteX3" fmla="*/ 0 w 1957226"/>
              <a:gd name="connsiteY3" fmla="*/ 978613 h 1957226"/>
              <a:gd name="connsiteX4" fmla="*/ 978613 w 1957226"/>
              <a:gd name="connsiteY4" fmla="*/ 0 h 1957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7226" h="1957226">
                <a:moveTo>
                  <a:pt x="978613" y="0"/>
                </a:moveTo>
                <a:cubicBezTo>
                  <a:pt x="1519086" y="0"/>
                  <a:pt x="1957226" y="438140"/>
                  <a:pt x="1957226" y="978613"/>
                </a:cubicBezTo>
                <a:cubicBezTo>
                  <a:pt x="1957226" y="1519086"/>
                  <a:pt x="1519086" y="1957226"/>
                  <a:pt x="978613" y="1957226"/>
                </a:cubicBezTo>
                <a:cubicBezTo>
                  <a:pt x="438140" y="1957226"/>
                  <a:pt x="0" y="1519086"/>
                  <a:pt x="0" y="978613"/>
                </a:cubicBezTo>
                <a:cubicBezTo>
                  <a:pt x="0" y="438140"/>
                  <a:pt x="438140" y="0"/>
                  <a:pt x="978613" y="0"/>
                </a:cubicBezTo>
                <a:close/>
              </a:path>
            </a:pathLst>
          </a:custGeom>
          <a:solidFill>
            <a:schemeClr val="bg1"/>
          </a:solidFill>
          <a:ln w="15875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8BA7C817-4511-D66A-8C50-BFBE309EB362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0576577" y="3438905"/>
            <a:ext cx="802800" cy="802800"/>
          </a:xfrm>
          <a:custGeom>
            <a:avLst/>
            <a:gdLst>
              <a:gd name="connsiteX0" fmla="*/ 405538 w 811076"/>
              <a:gd name="connsiteY0" fmla="*/ 0 h 811076"/>
              <a:gd name="connsiteX1" fmla="*/ 811076 w 811076"/>
              <a:gd name="connsiteY1" fmla="*/ 405538 h 811076"/>
              <a:gd name="connsiteX2" fmla="*/ 405538 w 811076"/>
              <a:gd name="connsiteY2" fmla="*/ 811076 h 811076"/>
              <a:gd name="connsiteX3" fmla="*/ 0 w 811076"/>
              <a:gd name="connsiteY3" fmla="*/ 405538 h 811076"/>
              <a:gd name="connsiteX4" fmla="*/ 405538 w 811076"/>
              <a:gd name="connsiteY4" fmla="*/ 0 h 81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076" h="811076">
                <a:moveTo>
                  <a:pt x="405538" y="0"/>
                </a:moveTo>
                <a:cubicBezTo>
                  <a:pt x="629510" y="0"/>
                  <a:pt x="811076" y="181566"/>
                  <a:pt x="811076" y="405538"/>
                </a:cubicBezTo>
                <a:cubicBezTo>
                  <a:pt x="811076" y="629510"/>
                  <a:pt x="629510" y="811076"/>
                  <a:pt x="405538" y="811076"/>
                </a:cubicBezTo>
                <a:cubicBezTo>
                  <a:pt x="181566" y="811076"/>
                  <a:pt x="0" y="629510"/>
                  <a:pt x="0" y="405538"/>
                </a:cubicBezTo>
                <a:cubicBezTo>
                  <a:pt x="0" y="181566"/>
                  <a:pt x="181566" y="0"/>
                  <a:pt x="40553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5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2F90EC93-3AC2-7E8E-1D71-D91DDAA3D8C9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10577392" y="3438905"/>
            <a:ext cx="801170" cy="802800"/>
          </a:xfrm>
          <a:custGeom>
            <a:avLst/>
            <a:gdLst>
              <a:gd name="connsiteX0" fmla="*/ 978613 w 1957226"/>
              <a:gd name="connsiteY0" fmla="*/ 0 h 1957226"/>
              <a:gd name="connsiteX1" fmla="*/ 1957226 w 1957226"/>
              <a:gd name="connsiteY1" fmla="*/ 978613 h 1957226"/>
              <a:gd name="connsiteX2" fmla="*/ 978613 w 1957226"/>
              <a:gd name="connsiteY2" fmla="*/ 1957226 h 1957226"/>
              <a:gd name="connsiteX3" fmla="*/ 0 w 1957226"/>
              <a:gd name="connsiteY3" fmla="*/ 978613 h 1957226"/>
              <a:gd name="connsiteX4" fmla="*/ 978613 w 1957226"/>
              <a:gd name="connsiteY4" fmla="*/ 0 h 1957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7226" h="1957226">
                <a:moveTo>
                  <a:pt x="978613" y="0"/>
                </a:moveTo>
                <a:cubicBezTo>
                  <a:pt x="1519086" y="0"/>
                  <a:pt x="1957226" y="438140"/>
                  <a:pt x="1957226" y="978613"/>
                </a:cubicBezTo>
                <a:cubicBezTo>
                  <a:pt x="1957226" y="1519086"/>
                  <a:pt x="1519086" y="1957226"/>
                  <a:pt x="978613" y="1957226"/>
                </a:cubicBezTo>
                <a:cubicBezTo>
                  <a:pt x="438140" y="1957226"/>
                  <a:pt x="0" y="1519086"/>
                  <a:pt x="0" y="978613"/>
                </a:cubicBezTo>
                <a:cubicBezTo>
                  <a:pt x="0" y="438140"/>
                  <a:pt x="438140" y="0"/>
                  <a:pt x="978613" y="0"/>
                </a:cubicBezTo>
                <a:close/>
              </a:path>
            </a:pathLst>
          </a:custGeom>
          <a:solidFill>
            <a:schemeClr val="bg1"/>
          </a:solidFill>
          <a:ln w="15875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22174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F9F6AAD-27AC-4F7D-ED82-25DF5820EA9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 rot="10800000">
            <a:off x="6099113" y="0"/>
            <a:ext cx="36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49000">
                <a:schemeClr val="accent1"/>
              </a:gs>
            </a:gsLst>
            <a:lin ang="5400000" scaled="0"/>
          </a:gradFill>
          <a:ln w="3175"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04BF6B5-715E-4DEB-0E06-11A0DE73F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65949" y="838201"/>
            <a:ext cx="5154576" cy="377142"/>
          </a:xfrm>
          <a:prstGeom prst="rect">
            <a:avLst/>
          </a:prstGeo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BCF1864-02F7-FA73-156E-625F7744AF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65949" y="545801"/>
            <a:ext cx="5154576" cy="180420"/>
          </a:xfrm>
          <a:prstGeom prst="rect">
            <a:avLst/>
          </a:prstGeom>
        </p:spPr>
        <p:txBody>
          <a:bodyPr/>
          <a:lstStyle>
            <a:lvl1pPr algn="l"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60BC831-5FE4-8867-2BC6-11FEA9645E9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71475" y="2033955"/>
            <a:ext cx="5154576" cy="377142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87B0109-E275-E572-8A39-E0465EC922D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71475" y="1741555"/>
            <a:ext cx="5154576" cy="18042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0299214-7BD8-3E09-FAD0-BC50DC8C172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665949" y="3176955"/>
            <a:ext cx="5154576" cy="377142"/>
          </a:xfrm>
          <a:prstGeom prst="rect">
            <a:avLst/>
          </a:prstGeo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9991099-72C2-C3CB-3523-4017F9D4B09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65949" y="2884555"/>
            <a:ext cx="5154576" cy="180420"/>
          </a:xfrm>
          <a:prstGeom prst="rect">
            <a:avLst/>
          </a:prstGeom>
        </p:spPr>
        <p:txBody>
          <a:bodyPr/>
          <a:lstStyle>
            <a:lvl1pPr algn="l"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28B5E63-2647-F489-AC12-A410A3A5A83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71475" y="4302371"/>
            <a:ext cx="5154576" cy="377142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2DF5712-BE52-9245-F71B-36C724DC7D4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71475" y="4009971"/>
            <a:ext cx="5154576" cy="18042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44B3262-F06C-2680-F006-6AA4179718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665949" y="5498125"/>
            <a:ext cx="5154576" cy="377142"/>
          </a:xfrm>
          <a:prstGeom prst="rect">
            <a:avLst/>
          </a:prstGeo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3B9CC57-D320-1177-922F-7004A311A63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65949" y="5205725"/>
            <a:ext cx="5154576" cy="180420"/>
          </a:xfrm>
          <a:prstGeom prst="rect">
            <a:avLst/>
          </a:prstGeom>
        </p:spPr>
        <p:txBody>
          <a:bodyPr/>
          <a:lstStyle>
            <a:lvl1pPr algn="l"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sub-heading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5A82AD-51DA-755A-88DB-A36DE5D97F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68300"/>
            <a:ext cx="5154576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4692E8-DCFA-0B2E-FC32-81680B9240E4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717343" y="479602"/>
            <a:ext cx="802800" cy="802800"/>
          </a:xfrm>
          <a:custGeom>
            <a:avLst/>
            <a:gdLst>
              <a:gd name="connsiteX0" fmla="*/ 405538 w 811076"/>
              <a:gd name="connsiteY0" fmla="*/ 0 h 811076"/>
              <a:gd name="connsiteX1" fmla="*/ 811076 w 811076"/>
              <a:gd name="connsiteY1" fmla="*/ 405538 h 811076"/>
              <a:gd name="connsiteX2" fmla="*/ 405538 w 811076"/>
              <a:gd name="connsiteY2" fmla="*/ 811076 h 811076"/>
              <a:gd name="connsiteX3" fmla="*/ 0 w 811076"/>
              <a:gd name="connsiteY3" fmla="*/ 405538 h 811076"/>
              <a:gd name="connsiteX4" fmla="*/ 405538 w 811076"/>
              <a:gd name="connsiteY4" fmla="*/ 0 h 81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076" h="811076">
                <a:moveTo>
                  <a:pt x="405538" y="0"/>
                </a:moveTo>
                <a:cubicBezTo>
                  <a:pt x="629510" y="0"/>
                  <a:pt x="811076" y="181566"/>
                  <a:pt x="811076" y="405538"/>
                </a:cubicBezTo>
                <a:cubicBezTo>
                  <a:pt x="811076" y="629510"/>
                  <a:pt x="629510" y="811076"/>
                  <a:pt x="405538" y="811076"/>
                </a:cubicBezTo>
                <a:cubicBezTo>
                  <a:pt x="181566" y="811076"/>
                  <a:pt x="0" y="629510"/>
                  <a:pt x="0" y="405538"/>
                </a:cubicBezTo>
                <a:cubicBezTo>
                  <a:pt x="0" y="181566"/>
                  <a:pt x="181566" y="0"/>
                  <a:pt x="40553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5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865328BF-DED0-3FC3-B8E5-3E2778715049}"/>
              </a:ext>
            </a:extLst>
          </p:cNvPr>
          <p:cNvSpPr>
            <a:spLocks noGrp="1"/>
          </p:cNvSpPr>
          <p:nvPr>
            <p:ph type="pic" sz="quarter" idx="75" hasCustomPrompt="1"/>
          </p:nvPr>
        </p:nvSpPr>
        <p:spPr>
          <a:xfrm>
            <a:off x="5718158" y="479602"/>
            <a:ext cx="801170" cy="802800"/>
          </a:xfrm>
          <a:custGeom>
            <a:avLst/>
            <a:gdLst>
              <a:gd name="connsiteX0" fmla="*/ 978613 w 1957226"/>
              <a:gd name="connsiteY0" fmla="*/ 0 h 1957226"/>
              <a:gd name="connsiteX1" fmla="*/ 1957226 w 1957226"/>
              <a:gd name="connsiteY1" fmla="*/ 978613 h 1957226"/>
              <a:gd name="connsiteX2" fmla="*/ 978613 w 1957226"/>
              <a:gd name="connsiteY2" fmla="*/ 1957226 h 1957226"/>
              <a:gd name="connsiteX3" fmla="*/ 0 w 1957226"/>
              <a:gd name="connsiteY3" fmla="*/ 978613 h 1957226"/>
              <a:gd name="connsiteX4" fmla="*/ 978613 w 1957226"/>
              <a:gd name="connsiteY4" fmla="*/ 0 h 1957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7226" h="1957226">
                <a:moveTo>
                  <a:pt x="978613" y="0"/>
                </a:moveTo>
                <a:cubicBezTo>
                  <a:pt x="1519086" y="0"/>
                  <a:pt x="1957226" y="438140"/>
                  <a:pt x="1957226" y="978613"/>
                </a:cubicBezTo>
                <a:cubicBezTo>
                  <a:pt x="1957226" y="1519086"/>
                  <a:pt x="1519086" y="1957226"/>
                  <a:pt x="978613" y="1957226"/>
                </a:cubicBezTo>
                <a:cubicBezTo>
                  <a:pt x="438140" y="1957226"/>
                  <a:pt x="0" y="1519086"/>
                  <a:pt x="0" y="978613"/>
                </a:cubicBezTo>
                <a:cubicBezTo>
                  <a:pt x="0" y="438140"/>
                  <a:pt x="438140" y="0"/>
                  <a:pt x="978613" y="0"/>
                </a:cubicBezTo>
                <a:close/>
              </a:path>
            </a:pathLst>
          </a:custGeom>
          <a:solidFill>
            <a:schemeClr val="bg1"/>
          </a:solidFill>
          <a:ln w="15875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3D22345-ABB6-3C37-B3DA-52FF8016FAC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5717343" y="1625915"/>
            <a:ext cx="802800" cy="802800"/>
          </a:xfrm>
          <a:custGeom>
            <a:avLst/>
            <a:gdLst>
              <a:gd name="connsiteX0" fmla="*/ 405538 w 811076"/>
              <a:gd name="connsiteY0" fmla="*/ 0 h 811076"/>
              <a:gd name="connsiteX1" fmla="*/ 811076 w 811076"/>
              <a:gd name="connsiteY1" fmla="*/ 405538 h 811076"/>
              <a:gd name="connsiteX2" fmla="*/ 405538 w 811076"/>
              <a:gd name="connsiteY2" fmla="*/ 811076 h 811076"/>
              <a:gd name="connsiteX3" fmla="*/ 0 w 811076"/>
              <a:gd name="connsiteY3" fmla="*/ 405538 h 811076"/>
              <a:gd name="connsiteX4" fmla="*/ 405538 w 811076"/>
              <a:gd name="connsiteY4" fmla="*/ 0 h 81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076" h="811076">
                <a:moveTo>
                  <a:pt x="405538" y="0"/>
                </a:moveTo>
                <a:cubicBezTo>
                  <a:pt x="629510" y="0"/>
                  <a:pt x="811076" y="181566"/>
                  <a:pt x="811076" y="405538"/>
                </a:cubicBezTo>
                <a:cubicBezTo>
                  <a:pt x="811076" y="629510"/>
                  <a:pt x="629510" y="811076"/>
                  <a:pt x="405538" y="811076"/>
                </a:cubicBezTo>
                <a:cubicBezTo>
                  <a:pt x="181566" y="811076"/>
                  <a:pt x="0" y="629510"/>
                  <a:pt x="0" y="405538"/>
                </a:cubicBezTo>
                <a:cubicBezTo>
                  <a:pt x="0" y="181566"/>
                  <a:pt x="181566" y="0"/>
                  <a:pt x="40553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5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9022BCC2-9F73-D80A-D7B9-FB13B32EE5CC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5718158" y="1625915"/>
            <a:ext cx="801170" cy="802800"/>
          </a:xfrm>
          <a:custGeom>
            <a:avLst/>
            <a:gdLst>
              <a:gd name="connsiteX0" fmla="*/ 978613 w 1957226"/>
              <a:gd name="connsiteY0" fmla="*/ 0 h 1957226"/>
              <a:gd name="connsiteX1" fmla="*/ 1957226 w 1957226"/>
              <a:gd name="connsiteY1" fmla="*/ 978613 h 1957226"/>
              <a:gd name="connsiteX2" fmla="*/ 978613 w 1957226"/>
              <a:gd name="connsiteY2" fmla="*/ 1957226 h 1957226"/>
              <a:gd name="connsiteX3" fmla="*/ 0 w 1957226"/>
              <a:gd name="connsiteY3" fmla="*/ 978613 h 1957226"/>
              <a:gd name="connsiteX4" fmla="*/ 978613 w 1957226"/>
              <a:gd name="connsiteY4" fmla="*/ 0 h 1957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7226" h="1957226">
                <a:moveTo>
                  <a:pt x="978613" y="0"/>
                </a:moveTo>
                <a:cubicBezTo>
                  <a:pt x="1519086" y="0"/>
                  <a:pt x="1957226" y="438140"/>
                  <a:pt x="1957226" y="978613"/>
                </a:cubicBezTo>
                <a:cubicBezTo>
                  <a:pt x="1957226" y="1519086"/>
                  <a:pt x="1519086" y="1957226"/>
                  <a:pt x="978613" y="1957226"/>
                </a:cubicBezTo>
                <a:cubicBezTo>
                  <a:pt x="438140" y="1957226"/>
                  <a:pt x="0" y="1519086"/>
                  <a:pt x="0" y="978613"/>
                </a:cubicBezTo>
                <a:cubicBezTo>
                  <a:pt x="0" y="438140"/>
                  <a:pt x="438140" y="0"/>
                  <a:pt x="978613" y="0"/>
                </a:cubicBezTo>
                <a:close/>
              </a:path>
            </a:pathLst>
          </a:custGeom>
          <a:solidFill>
            <a:schemeClr val="bg1"/>
          </a:solidFill>
          <a:ln w="15875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442FE86-393F-D9C9-D29B-C7308EB8325A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717343" y="2772228"/>
            <a:ext cx="802800" cy="802800"/>
          </a:xfrm>
          <a:custGeom>
            <a:avLst/>
            <a:gdLst>
              <a:gd name="connsiteX0" fmla="*/ 405538 w 811076"/>
              <a:gd name="connsiteY0" fmla="*/ 0 h 811076"/>
              <a:gd name="connsiteX1" fmla="*/ 811076 w 811076"/>
              <a:gd name="connsiteY1" fmla="*/ 405538 h 811076"/>
              <a:gd name="connsiteX2" fmla="*/ 405538 w 811076"/>
              <a:gd name="connsiteY2" fmla="*/ 811076 h 811076"/>
              <a:gd name="connsiteX3" fmla="*/ 0 w 811076"/>
              <a:gd name="connsiteY3" fmla="*/ 405538 h 811076"/>
              <a:gd name="connsiteX4" fmla="*/ 405538 w 811076"/>
              <a:gd name="connsiteY4" fmla="*/ 0 h 81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076" h="811076">
                <a:moveTo>
                  <a:pt x="405538" y="0"/>
                </a:moveTo>
                <a:cubicBezTo>
                  <a:pt x="629510" y="0"/>
                  <a:pt x="811076" y="181566"/>
                  <a:pt x="811076" y="405538"/>
                </a:cubicBezTo>
                <a:cubicBezTo>
                  <a:pt x="811076" y="629510"/>
                  <a:pt x="629510" y="811076"/>
                  <a:pt x="405538" y="811076"/>
                </a:cubicBezTo>
                <a:cubicBezTo>
                  <a:pt x="181566" y="811076"/>
                  <a:pt x="0" y="629510"/>
                  <a:pt x="0" y="405538"/>
                </a:cubicBezTo>
                <a:cubicBezTo>
                  <a:pt x="0" y="181566"/>
                  <a:pt x="181566" y="0"/>
                  <a:pt x="40553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5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898222FE-1620-C473-AF58-CDD94EC41CC2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5718158" y="2772228"/>
            <a:ext cx="801170" cy="802800"/>
          </a:xfrm>
          <a:custGeom>
            <a:avLst/>
            <a:gdLst>
              <a:gd name="connsiteX0" fmla="*/ 978613 w 1957226"/>
              <a:gd name="connsiteY0" fmla="*/ 0 h 1957226"/>
              <a:gd name="connsiteX1" fmla="*/ 1957226 w 1957226"/>
              <a:gd name="connsiteY1" fmla="*/ 978613 h 1957226"/>
              <a:gd name="connsiteX2" fmla="*/ 978613 w 1957226"/>
              <a:gd name="connsiteY2" fmla="*/ 1957226 h 1957226"/>
              <a:gd name="connsiteX3" fmla="*/ 0 w 1957226"/>
              <a:gd name="connsiteY3" fmla="*/ 978613 h 1957226"/>
              <a:gd name="connsiteX4" fmla="*/ 978613 w 1957226"/>
              <a:gd name="connsiteY4" fmla="*/ 0 h 1957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7226" h="1957226">
                <a:moveTo>
                  <a:pt x="978613" y="0"/>
                </a:moveTo>
                <a:cubicBezTo>
                  <a:pt x="1519086" y="0"/>
                  <a:pt x="1957226" y="438140"/>
                  <a:pt x="1957226" y="978613"/>
                </a:cubicBezTo>
                <a:cubicBezTo>
                  <a:pt x="1957226" y="1519086"/>
                  <a:pt x="1519086" y="1957226"/>
                  <a:pt x="978613" y="1957226"/>
                </a:cubicBezTo>
                <a:cubicBezTo>
                  <a:pt x="438140" y="1957226"/>
                  <a:pt x="0" y="1519086"/>
                  <a:pt x="0" y="978613"/>
                </a:cubicBezTo>
                <a:cubicBezTo>
                  <a:pt x="0" y="438140"/>
                  <a:pt x="438140" y="0"/>
                  <a:pt x="978613" y="0"/>
                </a:cubicBezTo>
                <a:close/>
              </a:path>
            </a:pathLst>
          </a:custGeom>
          <a:solidFill>
            <a:schemeClr val="bg1"/>
          </a:solidFill>
          <a:ln w="15875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AB4AD3A-A26A-CE6D-3A38-0385C4B6BE1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717343" y="3931793"/>
            <a:ext cx="802800" cy="802800"/>
          </a:xfrm>
          <a:custGeom>
            <a:avLst/>
            <a:gdLst>
              <a:gd name="connsiteX0" fmla="*/ 405538 w 811076"/>
              <a:gd name="connsiteY0" fmla="*/ 0 h 811076"/>
              <a:gd name="connsiteX1" fmla="*/ 811076 w 811076"/>
              <a:gd name="connsiteY1" fmla="*/ 405538 h 811076"/>
              <a:gd name="connsiteX2" fmla="*/ 405538 w 811076"/>
              <a:gd name="connsiteY2" fmla="*/ 811076 h 811076"/>
              <a:gd name="connsiteX3" fmla="*/ 0 w 811076"/>
              <a:gd name="connsiteY3" fmla="*/ 405538 h 811076"/>
              <a:gd name="connsiteX4" fmla="*/ 405538 w 811076"/>
              <a:gd name="connsiteY4" fmla="*/ 0 h 81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076" h="811076">
                <a:moveTo>
                  <a:pt x="405538" y="0"/>
                </a:moveTo>
                <a:cubicBezTo>
                  <a:pt x="629510" y="0"/>
                  <a:pt x="811076" y="181566"/>
                  <a:pt x="811076" y="405538"/>
                </a:cubicBezTo>
                <a:cubicBezTo>
                  <a:pt x="811076" y="629510"/>
                  <a:pt x="629510" y="811076"/>
                  <a:pt x="405538" y="811076"/>
                </a:cubicBezTo>
                <a:cubicBezTo>
                  <a:pt x="181566" y="811076"/>
                  <a:pt x="0" y="629510"/>
                  <a:pt x="0" y="405538"/>
                </a:cubicBezTo>
                <a:cubicBezTo>
                  <a:pt x="0" y="181566"/>
                  <a:pt x="181566" y="0"/>
                  <a:pt x="40553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5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5" name="Picture Placeholder 7">
            <a:extLst>
              <a:ext uri="{FF2B5EF4-FFF2-40B4-BE49-F238E27FC236}">
                <a16:creationId xmlns:a16="http://schemas.microsoft.com/office/drawing/2014/main" id="{5A38FEA4-26C8-94C7-9398-98BF29C1CF4F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5718158" y="3931793"/>
            <a:ext cx="801170" cy="802800"/>
          </a:xfrm>
          <a:custGeom>
            <a:avLst/>
            <a:gdLst>
              <a:gd name="connsiteX0" fmla="*/ 978613 w 1957226"/>
              <a:gd name="connsiteY0" fmla="*/ 0 h 1957226"/>
              <a:gd name="connsiteX1" fmla="*/ 1957226 w 1957226"/>
              <a:gd name="connsiteY1" fmla="*/ 978613 h 1957226"/>
              <a:gd name="connsiteX2" fmla="*/ 978613 w 1957226"/>
              <a:gd name="connsiteY2" fmla="*/ 1957226 h 1957226"/>
              <a:gd name="connsiteX3" fmla="*/ 0 w 1957226"/>
              <a:gd name="connsiteY3" fmla="*/ 978613 h 1957226"/>
              <a:gd name="connsiteX4" fmla="*/ 978613 w 1957226"/>
              <a:gd name="connsiteY4" fmla="*/ 0 h 1957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7226" h="1957226">
                <a:moveTo>
                  <a:pt x="978613" y="0"/>
                </a:moveTo>
                <a:cubicBezTo>
                  <a:pt x="1519086" y="0"/>
                  <a:pt x="1957226" y="438140"/>
                  <a:pt x="1957226" y="978613"/>
                </a:cubicBezTo>
                <a:cubicBezTo>
                  <a:pt x="1957226" y="1519086"/>
                  <a:pt x="1519086" y="1957226"/>
                  <a:pt x="978613" y="1957226"/>
                </a:cubicBezTo>
                <a:cubicBezTo>
                  <a:pt x="438140" y="1957226"/>
                  <a:pt x="0" y="1519086"/>
                  <a:pt x="0" y="978613"/>
                </a:cubicBezTo>
                <a:cubicBezTo>
                  <a:pt x="0" y="438140"/>
                  <a:pt x="438140" y="0"/>
                  <a:pt x="978613" y="0"/>
                </a:cubicBezTo>
                <a:close/>
              </a:path>
            </a:pathLst>
          </a:custGeom>
          <a:solidFill>
            <a:schemeClr val="bg1"/>
          </a:solidFill>
          <a:ln w="15875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5A4E955F-D2D2-E9E0-8676-BC1575FEF23E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717343" y="5078106"/>
            <a:ext cx="802800" cy="802800"/>
          </a:xfrm>
          <a:custGeom>
            <a:avLst/>
            <a:gdLst>
              <a:gd name="connsiteX0" fmla="*/ 405538 w 811076"/>
              <a:gd name="connsiteY0" fmla="*/ 0 h 811076"/>
              <a:gd name="connsiteX1" fmla="*/ 811076 w 811076"/>
              <a:gd name="connsiteY1" fmla="*/ 405538 h 811076"/>
              <a:gd name="connsiteX2" fmla="*/ 405538 w 811076"/>
              <a:gd name="connsiteY2" fmla="*/ 811076 h 811076"/>
              <a:gd name="connsiteX3" fmla="*/ 0 w 811076"/>
              <a:gd name="connsiteY3" fmla="*/ 405538 h 811076"/>
              <a:gd name="connsiteX4" fmla="*/ 405538 w 811076"/>
              <a:gd name="connsiteY4" fmla="*/ 0 h 81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076" h="811076">
                <a:moveTo>
                  <a:pt x="405538" y="0"/>
                </a:moveTo>
                <a:cubicBezTo>
                  <a:pt x="629510" y="0"/>
                  <a:pt x="811076" y="181566"/>
                  <a:pt x="811076" y="405538"/>
                </a:cubicBezTo>
                <a:cubicBezTo>
                  <a:pt x="811076" y="629510"/>
                  <a:pt x="629510" y="811076"/>
                  <a:pt x="405538" y="811076"/>
                </a:cubicBezTo>
                <a:cubicBezTo>
                  <a:pt x="181566" y="811076"/>
                  <a:pt x="0" y="629510"/>
                  <a:pt x="0" y="405538"/>
                </a:cubicBezTo>
                <a:cubicBezTo>
                  <a:pt x="0" y="181566"/>
                  <a:pt x="181566" y="0"/>
                  <a:pt x="40553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5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FB61A28D-D585-8170-210F-6972B0B245EB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5718158" y="5078106"/>
            <a:ext cx="801170" cy="802800"/>
          </a:xfrm>
          <a:custGeom>
            <a:avLst/>
            <a:gdLst>
              <a:gd name="connsiteX0" fmla="*/ 978613 w 1957226"/>
              <a:gd name="connsiteY0" fmla="*/ 0 h 1957226"/>
              <a:gd name="connsiteX1" fmla="*/ 1957226 w 1957226"/>
              <a:gd name="connsiteY1" fmla="*/ 978613 h 1957226"/>
              <a:gd name="connsiteX2" fmla="*/ 978613 w 1957226"/>
              <a:gd name="connsiteY2" fmla="*/ 1957226 h 1957226"/>
              <a:gd name="connsiteX3" fmla="*/ 0 w 1957226"/>
              <a:gd name="connsiteY3" fmla="*/ 978613 h 1957226"/>
              <a:gd name="connsiteX4" fmla="*/ 978613 w 1957226"/>
              <a:gd name="connsiteY4" fmla="*/ 0 h 1957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7226" h="1957226">
                <a:moveTo>
                  <a:pt x="978613" y="0"/>
                </a:moveTo>
                <a:cubicBezTo>
                  <a:pt x="1519086" y="0"/>
                  <a:pt x="1957226" y="438140"/>
                  <a:pt x="1957226" y="978613"/>
                </a:cubicBezTo>
                <a:cubicBezTo>
                  <a:pt x="1957226" y="1519086"/>
                  <a:pt x="1519086" y="1957226"/>
                  <a:pt x="978613" y="1957226"/>
                </a:cubicBezTo>
                <a:cubicBezTo>
                  <a:pt x="438140" y="1957226"/>
                  <a:pt x="0" y="1519086"/>
                  <a:pt x="0" y="978613"/>
                </a:cubicBezTo>
                <a:cubicBezTo>
                  <a:pt x="0" y="438140"/>
                  <a:pt x="438140" y="0"/>
                  <a:pt x="978613" y="0"/>
                </a:cubicBezTo>
                <a:close/>
              </a:path>
            </a:pathLst>
          </a:custGeom>
          <a:solidFill>
            <a:schemeClr val="bg1"/>
          </a:solidFill>
          <a:ln w="15875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algn="ctr">
              <a:defRPr sz="9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8637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9E69BB47-A185-F923-49DF-BFA062067B7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 rot="16200000">
            <a:off x="5751363" y="-2409628"/>
            <a:ext cx="689273" cy="12192003"/>
          </a:xfrm>
          <a:prstGeom prst="rect">
            <a:avLst/>
          </a:prstGeom>
          <a:gradFill>
            <a:gsLst>
              <a:gs pos="0">
                <a:schemeClr val="accent2"/>
              </a:gs>
              <a:gs pos="49000">
                <a:schemeClr val="accent1"/>
              </a:gs>
            </a:gsLst>
            <a:lin ang="5400000" scaled="0"/>
          </a:gradFill>
          <a:ln w="3175"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1CDC0902-CD93-382A-AA28-41F1FCF2571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518757" y="2625751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0B4E763-B4F6-E216-9580-A99B46B390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18757" y="2130539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2CA96A36-A4E0-7C28-6423-604C7A012FB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79425" y="3247387"/>
            <a:ext cx="1039332" cy="900666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7F10211B-73A4-10F5-052F-C9937678A66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31604" y="3247387"/>
            <a:ext cx="1039332" cy="900666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79AA0B45-011B-B242-769F-AFF75FEFDF9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383783" y="3247387"/>
            <a:ext cx="1039332" cy="900666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F0582F32-F4FB-E3C0-0C4B-DCF2F0E692F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835962" y="3247387"/>
            <a:ext cx="1039332" cy="900666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5802101B-037C-C853-7EB5-819A9F4D5C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88141" y="3247387"/>
            <a:ext cx="1039332" cy="900666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A218EA18-2A32-CD07-85A4-F62D269EFBB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740320" y="3247387"/>
            <a:ext cx="1039332" cy="900666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32527F8D-814A-CEC2-6552-C2850993462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192501" y="3247387"/>
            <a:ext cx="1039332" cy="900666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36B5D960-9338-CDE1-E84E-E474228337F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19612" y="2625751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8" name="Text Placeholder 3">
            <a:extLst>
              <a:ext uri="{FF2B5EF4-FFF2-40B4-BE49-F238E27FC236}">
                <a16:creationId xmlns:a16="http://schemas.microsoft.com/office/drawing/2014/main" id="{F8813908-3A61-2FA3-A6F0-05A082F68B3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419612" y="2130539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02CC491A-FB72-1425-6792-AB7998E0481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09956" y="2625751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1" name="Text Placeholder 3">
            <a:extLst>
              <a:ext uri="{FF2B5EF4-FFF2-40B4-BE49-F238E27FC236}">
                <a16:creationId xmlns:a16="http://schemas.microsoft.com/office/drawing/2014/main" id="{A6DED224-6997-F254-66BD-47FD96B28D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309956" y="2130539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73" name="Text Placeholder 3">
            <a:extLst>
              <a:ext uri="{FF2B5EF4-FFF2-40B4-BE49-F238E27FC236}">
                <a16:creationId xmlns:a16="http://schemas.microsoft.com/office/drawing/2014/main" id="{0C2B5AE0-4EC5-47C6-DF8C-A62E9B58EEE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231832" y="2625751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26822A6F-1477-2B8A-5CE2-74CDAABAE5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231832" y="2130539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65031035-7D2B-FBDA-03AE-A50C722E32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779056" y="4874965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5ED2D46E-DCF9-9D4D-E7C2-DF4B4B73BBB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779056" y="4379753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8AB798C3-FFB9-0DDF-0B6B-1584958B145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878201" y="4874965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0" name="Text Placeholder 3">
            <a:extLst>
              <a:ext uri="{FF2B5EF4-FFF2-40B4-BE49-F238E27FC236}">
                <a16:creationId xmlns:a16="http://schemas.microsoft.com/office/drawing/2014/main" id="{9110018E-AD2B-B220-59BD-71E29B9010E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878201" y="4379753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1D4E2CC0-92F4-1D91-BA8A-9191EA8448E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977345" y="4874965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3" name="Text Placeholder 3">
            <a:extLst>
              <a:ext uri="{FF2B5EF4-FFF2-40B4-BE49-F238E27FC236}">
                <a16:creationId xmlns:a16="http://schemas.microsoft.com/office/drawing/2014/main" id="{C28F0A82-3F78-28C0-A2F1-618C18F910F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977345" y="4379753"/>
            <a:ext cx="1481342" cy="377142"/>
          </a:xfrm>
          <a:prstGeom prst="rect">
            <a:avLst/>
          </a:prstGeom>
        </p:spPr>
        <p:txBody>
          <a:bodyPr/>
          <a:lstStyle>
            <a:lvl1pPr algn="l">
              <a:lnSpc>
                <a:spcPts val="1440"/>
              </a:lnSpc>
              <a:spcAft>
                <a:spcPts val="0"/>
              </a:spcAft>
              <a:defRPr sz="1200"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B73F29C-3DE5-D4D6-CFF9-4D946329B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8300"/>
            <a:ext cx="11449047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EC3A17B-C4AB-6A4C-819A-702F9DD3A3FC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71475" y="898524"/>
            <a:ext cx="11449047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722E1D2-BD89-6D88-202E-D430CF073A8E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 rot="5400000">
            <a:off x="-420525" y="2921381"/>
            <a:ext cx="15840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4558D0D-0103-D1F7-16F9-3D87B4F69697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 rot="5400000">
            <a:off x="2483179" y="2921381"/>
            <a:ext cx="15840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FDB59CF-FEDC-45CD-0CD8-F223569E1A65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 rot="5400000">
            <a:off x="5384034" y="2921381"/>
            <a:ext cx="15840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BF51744-FD23-F690-C83F-B34F7AECBC42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 rot="5400000">
            <a:off x="8295509" y="2921381"/>
            <a:ext cx="15840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09B3B7C-7DC5-5607-D0B4-69E7928A4FE0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 rot="5400000">
            <a:off x="6836873" y="4471434"/>
            <a:ext cx="15840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CDA7096-CFCA-017F-DB85-C9E13A83571B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 rot="5400000">
            <a:off x="3934923" y="4471434"/>
            <a:ext cx="15840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AC1E32E-DD87-E79A-2689-5FA1EE98978C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 rot="5400000">
            <a:off x="1045673" y="4471434"/>
            <a:ext cx="1584000" cy="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>
              <a:defRPr lang="en-US" sz="900" dirty="0"/>
            </a:lvl1pPr>
          </a:lstStyle>
          <a:p>
            <a:pPr lvl="0" algn="ctr">
              <a:buFont typeface="Arial" panose="020B0604020202020204" pitchFamily="34" charset="0"/>
            </a:pPr>
            <a:r>
              <a:rPr lang="en-US"/>
              <a:t> </a:t>
            </a:r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DBB927D3-FB26-6866-581B-30B62DCAB054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476466" y="2122404"/>
            <a:ext cx="900666" cy="90066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39678640-B038-DC12-B7D5-27ED0BE07437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3378454" y="2122404"/>
            <a:ext cx="900666" cy="90066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DF4F662B-7DE4-E47E-B725-825C537FD153}"/>
              </a:ext>
            </a:extLst>
          </p:cNvPr>
          <p:cNvSpPr>
            <a:spLocks noGrp="1"/>
          </p:cNvSpPr>
          <p:nvPr>
            <p:ph type="pic" sz="quarter" idx="103" hasCustomPrompt="1"/>
          </p:nvPr>
        </p:nvSpPr>
        <p:spPr>
          <a:xfrm>
            <a:off x="6269491" y="2122404"/>
            <a:ext cx="900666" cy="90066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4787F183-75E8-711F-9F67-846B2870D1EF}"/>
              </a:ext>
            </a:extLst>
          </p:cNvPr>
          <p:cNvSpPr>
            <a:spLocks noGrp="1"/>
          </p:cNvSpPr>
          <p:nvPr>
            <p:ph type="pic" sz="quarter" idx="104" hasCustomPrompt="1"/>
          </p:nvPr>
        </p:nvSpPr>
        <p:spPr>
          <a:xfrm>
            <a:off x="9198856" y="2122404"/>
            <a:ext cx="900666" cy="90066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6E2431FF-D62A-692D-D61D-F63BE0DA6908}"/>
              </a:ext>
            </a:extLst>
          </p:cNvPr>
          <p:cNvSpPr>
            <a:spLocks noGrp="1"/>
          </p:cNvSpPr>
          <p:nvPr>
            <p:ph type="pic" sz="quarter" idx="105" hasCustomPrompt="1"/>
          </p:nvPr>
        </p:nvSpPr>
        <p:spPr>
          <a:xfrm>
            <a:off x="7734739" y="4374356"/>
            <a:ext cx="900666" cy="90066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CF459B98-F11F-9BD8-EC17-43B6A7F15859}"/>
              </a:ext>
            </a:extLst>
          </p:cNvPr>
          <p:cNvSpPr>
            <a:spLocks noGrp="1"/>
          </p:cNvSpPr>
          <p:nvPr>
            <p:ph type="pic" sz="quarter" idx="106" hasCustomPrompt="1"/>
          </p:nvPr>
        </p:nvSpPr>
        <p:spPr>
          <a:xfrm>
            <a:off x="4838227" y="4374356"/>
            <a:ext cx="900666" cy="90066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30" name="Picture Placeholder 14">
            <a:extLst>
              <a:ext uri="{FF2B5EF4-FFF2-40B4-BE49-F238E27FC236}">
                <a16:creationId xmlns:a16="http://schemas.microsoft.com/office/drawing/2014/main" id="{C3C45DD0-D773-EC81-B09F-FBED3A3FC75B}"/>
              </a:ext>
            </a:extLst>
          </p:cNvPr>
          <p:cNvSpPr>
            <a:spLocks noGrp="1"/>
          </p:cNvSpPr>
          <p:nvPr>
            <p:ph type="pic" sz="quarter" idx="107" hasCustomPrompt="1"/>
          </p:nvPr>
        </p:nvSpPr>
        <p:spPr>
          <a:xfrm>
            <a:off x="1955327" y="4374356"/>
            <a:ext cx="900666" cy="90066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</p:spTree>
    <p:extLst>
      <p:ext uri="{BB962C8B-B14F-4D97-AF65-F5344CB8AC3E}">
        <p14:creationId xmlns:p14="http://schemas.microsoft.com/office/powerpoint/2010/main" val="3728786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with photo - Navy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E751A7F-C16A-4A24-9BA8-EB102C97BB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239" y="3091101"/>
            <a:ext cx="8964286" cy="1108074"/>
          </a:xfrm>
          <a:prstGeom prst="rect">
            <a:avLst/>
          </a:prstGeom>
        </p:spPr>
        <p:txBody>
          <a:bodyPr>
            <a:normAutofit/>
          </a:bodyPr>
          <a:lstStyle>
            <a:lvl1pPr marL="223838" indent="-223838">
              <a:tabLst/>
              <a:defRPr sz="4000">
                <a:solidFill>
                  <a:schemeClr val="bg1"/>
                </a:solidFill>
                <a:latin typeface="DM Serif Display" pitchFamily="2" charset="0"/>
              </a:defRPr>
            </a:lvl1pPr>
          </a:lstStyle>
          <a:p>
            <a:r>
              <a:rPr lang="en-CA"/>
              <a:t>“This is a quote slide. Click on the text to add a quote.”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10D459C-F5E9-BD59-6B84-8F589C4612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6612" y="0"/>
            <a:ext cx="4755963" cy="2280498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07460FF-FABA-37C8-B696-ED6C4DA0D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56239" y="4399777"/>
            <a:ext cx="8964286" cy="177726"/>
          </a:xfrm>
          <a:prstGeom prst="rect">
            <a:avLst/>
          </a:prstGeom>
        </p:spPr>
        <p:txBody>
          <a:bodyPr/>
          <a:lstStyle>
            <a:lvl1pPr marL="223838" indent="0">
              <a:tabLst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 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A2878A-C2FC-2B93-8CE9-EF4BAD1E9178}"/>
              </a:ext>
            </a:extLst>
          </p:cNvPr>
          <p:cNvSpPr txBox="1"/>
          <p:nvPr userDrawn="1"/>
        </p:nvSpPr>
        <p:spPr>
          <a:xfrm>
            <a:off x="343110" y="6384784"/>
            <a:ext cx="400050" cy="244615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DM Sans" pitchFamily="2" charset="0"/>
              <a:buNone/>
              <a:defRPr sz="800">
                <a:solidFill>
                  <a:srgbClr val="40454D"/>
                </a:solidFill>
                <a:latin typeface="DM Sans" pitchFamily="2" charset="0"/>
                <a:cs typeface="DM Sans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9pPr>
          </a:lstStyle>
          <a:p>
            <a:pPr marL="0" lvl="0" indent="0"/>
            <a:fld id="{C67458B2-126D-41DF-9342-05EBD80CAE7A}" type="slidenum">
              <a:rPr lang="en-CA" smtClean="0">
                <a:solidFill>
                  <a:schemeClr val="bg1"/>
                </a:solidFill>
                <a:latin typeface="DM Sans" pitchFamily="2" charset="0"/>
              </a:rPr>
              <a:pPr marL="0" lvl="0" indent="0"/>
              <a:t>‹#›</a:t>
            </a:fld>
            <a:endParaRPr lang="en-CA">
              <a:solidFill>
                <a:schemeClr val="bg1"/>
              </a:solidFill>
              <a:latin typeface="DM Sans" pitchFamily="2" charset="0"/>
            </a:endParaRPr>
          </a:p>
        </p:txBody>
      </p:sp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C017BF49-8ED9-840B-BFEE-3DCB16C543C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71476" y="2723207"/>
            <a:ext cx="2005158" cy="2005157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bg1"/>
            </a:solidFill>
          </a:ln>
        </p:spPr>
        <p:txBody>
          <a:bodyPr anchor="t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6A896B-7F8B-D128-DB5E-64F429E77BBB}"/>
              </a:ext>
            </a:extLst>
          </p:cNvPr>
          <p:cNvSpPr/>
          <p:nvPr userDrawn="1"/>
        </p:nvSpPr>
        <p:spPr>
          <a:xfrm>
            <a:off x="9916676" y="5904221"/>
            <a:ext cx="2041776" cy="9084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9220F0-49F2-53BC-909F-2EC08455944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987928" y="6049534"/>
            <a:ext cx="1860962" cy="579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27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- Navy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E751A7F-C16A-4A24-9BA8-EB102C97BB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091101"/>
            <a:ext cx="8856336" cy="1108074"/>
          </a:xfrm>
          <a:prstGeom prst="rect">
            <a:avLst/>
          </a:prstGeom>
        </p:spPr>
        <p:txBody>
          <a:bodyPr>
            <a:normAutofit/>
          </a:bodyPr>
          <a:lstStyle>
            <a:lvl1pPr marL="223838" indent="-215900">
              <a:tabLst/>
              <a:defRPr sz="4000">
                <a:solidFill>
                  <a:schemeClr val="bg1"/>
                </a:solidFill>
                <a:latin typeface="DM Serif Display" pitchFamily="2" charset="0"/>
              </a:defRPr>
            </a:lvl1pPr>
          </a:lstStyle>
          <a:p>
            <a:r>
              <a:rPr lang="en-CA"/>
              <a:t>“This is a quote slide. Click on the text to add a quote.”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10D459C-F5E9-BD59-6B84-8F589C4612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6612" y="0"/>
            <a:ext cx="4755963" cy="2280498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07460FF-FABA-37C8-B696-ED6C4DA0D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4399777"/>
            <a:ext cx="8856336" cy="177726"/>
          </a:xfrm>
          <a:prstGeom prst="rect">
            <a:avLst/>
          </a:prstGeom>
        </p:spPr>
        <p:txBody>
          <a:bodyPr/>
          <a:lstStyle>
            <a:lvl1pPr marL="223838" indent="0">
              <a:tabLst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 Name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094267-006D-BC62-FBB2-DEAA4CC8D14A}"/>
              </a:ext>
            </a:extLst>
          </p:cNvPr>
          <p:cNvSpPr txBox="1"/>
          <p:nvPr userDrawn="1"/>
        </p:nvSpPr>
        <p:spPr>
          <a:xfrm>
            <a:off x="343110" y="6384784"/>
            <a:ext cx="400050" cy="244615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DM Sans" pitchFamily="2" charset="0"/>
              <a:buNone/>
              <a:defRPr sz="800">
                <a:solidFill>
                  <a:srgbClr val="40454D"/>
                </a:solidFill>
                <a:latin typeface="DM Sans" pitchFamily="2" charset="0"/>
                <a:cs typeface="DM Sans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9pPr>
          </a:lstStyle>
          <a:p>
            <a:pPr marL="0" lvl="0" indent="0"/>
            <a:fld id="{C67458B2-126D-41DF-9342-05EBD80CAE7A}" type="slidenum">
              <a:rPr lang="en-CA" smtClean="0">
                <a:solidFill>
                  <a:schemeClr val="bg1"/>
                </a:solidFill>
                <a:latin typeface="DM Sans" pitchFamily="2" charset="0"/>
              </a:rPr>
              <a:pPr marL="0" lvl="0" indent="0"/>
              <a:t>‹#›</a:t>
            </a:fld>
            <a:endParaRPr lang="en-CA">
              <a:solidFill>
                <a:schemeClr val="bg1"/>
              </a:solidFill>
              <a:latin typeface="DM Sans" pitchFamily="2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3EA85C9-4627-DB8D-E439-9F6110C7B6B7}"/>
              </a:ext>
            </a:extLst>
          </p:cNvPr>
          <p:cNvSpPr/>
          <p:nvPr userDrawn="1"/>
        </p:nvSpPr>
        <p:spPr>
          <a:xfrm>
            <a:off x="9916676" y="5904221"/>
            <a:ext cx="2041776" cy="9084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227020-2F6A-ADC8-9817-7400D1B494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987928" y="6049534"/>
            <a:ext cx="1860962" cy="579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2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351554B-4608-4EC5-8A6B-05DF40AC9D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379014"/>
            <a:ext cx="3495675" cy="1736778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DM Sans" pitchFamily="2" charset="0"/>
              </a:defRPr>
            </a:lvl1pPr>
          </a:lstStyle>
          <a:p>
            <a:pPr marL="0" indent="0">
              <a:buNone/>
            </a:pPr>
            <a:r>
              <a:rPr lang="en-CA" sz="3000">
                <a:solidFill>
                  <a:srgbClr val="40454D"/>
                </a:solidFill>
                <a:latin typeface="DM Sans" pitchFamily="2" charset="0"/>
                <a:cs typeface="DM Sans" pitchFamily="2" charset="0"/>
              </a:rPr>
              <a:t>This is where to make a bold statement backed up by two insights.</a:t>
            </a:r>
            <a:endParaRPr lang="en-US" sz="3000">
              <a:solidFill>
                <a:srgbClr val="40454D"/>
              </a:solidFill>
              <a:latin typeface="DM Sans" pitchFamily="2" charset="0"/>
              <a:cs typeface="DM Sans" pitchFamily="2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E30A99-978D-4455-8D08-79BFEC3686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1534" y="368301"/>
            <a:ext cx="3586520" cy="546248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05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2" name="Picture Placeholder 14">
            <a:extLst>
              <a:ext uri="{FF2B5EF4-FFF2-40B4-BE49-F238E27FC236}">
                <a16:creationId xmlns:a16="http://schemas.microsoft.com/office/drawing/2014/main" id="{E8E92FC9-C931-C90E-7963-894BFA94B49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84175" y="368300"/>
            <a:ext cx="3489325" cy="3639914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1100"/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3CD614A-3C42-0D3B-3DD1-13ADC754337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6088" y="368301"/>
            <a:ext cx="3586520" cy="546248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05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7563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e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1">
            <a:extLst>
              <a:ext uri="{FF2B5EF4-FFF2-40B4-BE49-F238E27FC236}">
                <a16:creationId xmlns:a16="http://schemas.microsoft.com/office/drawing/2014/main" id="{D1D86A88-7978-430F-80E4-870C51BC75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481663"/>
            <a:ext cx="3609975" cy="44778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accent3"/>
                </a:solidFill>
                <a:latin typeface="DM Sans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R="6660" algn="l"/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Lorem ipsum dolor sit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amet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, sed do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eiusmod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temcidi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duntutl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aboreet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 dolore magna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aliqua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. Ut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enimad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 minim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veniam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,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quircitation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ullamcolasnisi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utaliquipex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eaco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 </a:t>
            </a:r>
            <a:r>
              <a:rPr lang="en-CA" sz="1800" b="0" i="0" u="none" strike="noStrike" baseline="0" err="1">
                <a:solidFill>
                  <a:srgbClr val="40454D"/>
                </a:solidFill>
                <a:latin typeface="DM Sans" pitchFamily="2" charset="0"/>
              </a:rPr>
              <a:t>monsequat</a:t>
            </a:r>
            <a:r>
              <a:rPr lang="en-CA" sz="1800" b="0" i="0" u="none" strike="noStrike" baseline="0">
                <a:solidFill>
                  <a:srgbClr val="40454D"/>
                </a:solidFill>
                <a:latin typeface="DM Sans" pitchFamily="2" charset="0"/>
              </a:rPr>
              <a:t>. </a:t>
            </a:r>
            <a:endParaRPr lang="en-CA"/>
          </a:p>
        </p:txBody>
      </p:sp>
      <p:sp>
        <p:nvSpPr>
          <p:cNvPr id="30" name="TEXT 1">
            <a:extLst>
              <a:ext uri="{FF2B5EF4-FFF2-40B4-BE49-F238E27FC236}">
                <a16:creationId xmlns:a16="http://schemas.microsoft.com/office/drawing/2014/main" id="{AA97BC33-BB34-438A-866B-49782AB5CC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59275" y="1481661"/>
            <a:ext cx="7461249" cy="4477815"/>
          </a:xfrm>
          <a:prstGeom prst="rect">
            <a:avLst/>
          </a:prstGeom>
        </p:spPr>
        <p:txBody>
          <a:bodyPr numCol="2" spcCol="274320"/>
          <a:lstStyle>
            <a:lvl1pPr marL="0" indent="0">
              <a:lnSpc>
                <a:spcPts val="1420"/>
              </a:lnSpc>
              <a:buNone/>
              <a:defRPr sz="140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DM Sans" pitchFamily="2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sed do </a:t>
            </a:r>
            <a:r>
              <a:rPr lang="en-US" err="1"/>
              <a:t>eiusmodtem</a:t>
            </a:r>
            <a:r>
              <a:rPr lang="en-US"/>
              <a:t> </a:t>
            </a:r>
            <a:r>
              <a:rPr lang="en-US" err="1"/>
              <a:t>porinci</a:t>
            </a:r>
            <a:r>
              <a:rPr lang="en-US"/>
              <a:t> </a:t>
            </a:r>
            <a:r>
              <a:rPr lang="en-US" err="1"/>
              <a:t>diduntut</a:t>
            </a:r>
            <a:r>
              <a:rPr lang="en-US"/>
              <a:t> </a:t>
            </a:r>
            <a:r>
              <a:rPr lang="en-US" err="1"/>
              <a:t>labo</a:t>
            </a:r>
            <a:r>
              <a:rPr lang="en-US"/>
              <a:t> </a:t>
            </a:r>
            <a:r>
              <a:rPr lang="en-US" err="1"/>
              <a:t>reet</a:t>
            </a:r>
            <a:r>
              <a:rPr lang="en-US"/>
              <a:t>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ad</a:t>
            </a:r>
            <a:r>
              <a:rPr lang="en-US"/>
              <a:t>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n</a:t>
            </a:r>
            <a:r>
              <a:rPr lang="en-US"/>
              <a:t> </a:t>
            </a:r>
            <a:r>
              <a:rPr lang="en-US" err="1"/>
              <a:t>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</a:t>
            </a:r>
            <a:r>
              <a:rPr lang="en-US"/>
              <a:t> </a:t>
            </a:r>
            <a:r>
              <a:rPr lang="en-US" err="1"/>
              <a:t>risnisi</a:t>
            </a:r>
            <a:r>
              <a:rPr lang="en-US"/>
              <a:t> </a:t>
            </a:r>
            <a:r>
              <a:rPr lang="en-US" err="1"/>
              <a:t>utaliquipex</a:t>
            </a:r>
            <a:r>
              <a:rPr lang="en-US"/>
              <a:t> </a:t>
            </a:r>
            <a:r>
              <a:rPr lang="en-US" err="1"/>
              <a:t>eacommod</a:t>
            </a:r>
            <a:r>
              <a:rPr lang="en-US"/>
              <a:t> </a:t>
            </a:r>
            <a:r>
              <a:rPr lang="en-US" err="1"/>
              <a:t>ocon</a:t>
            </a:r>
            <a:r>
              <a:rPr lang="en-US"/>
              <a:t> </a:t>
            </a:r>
            <a:r>
              <a:rPr lang="en-US" err="1"/>
              <a:t>sequat</a:t>
            </a:r>
            <a:r>
              <a:rPr lang="en-US"/>
              <a:t>. Duis </a:t>
            </a:r>
            <a:r>
              <a:rPr lang="en-US" err="1"/>
              <a:t>auteir</a:t>
            </a:r>
            <a:r>
              <a:rPr lang="en-US"/>
              <a:t> </a:t>
            </a:r>
            <a:r>
              <a:rPr lang="en-US" err="1"/>
              <a:t>uredolor</a:t>
            </a:r>
            <a:r>
              <a:rPr lang="en-US"/>
              <a:t> in </a:t>
            </a:r>
            <a:r>
              <a:rPr lang="en-US" err="1"/>
              <a:t>repreh</a:t>
            </a:r>
            <a:r>
              <a:rPr lang="en-US"/>
              <a:t> </a:t>
            </a:r>
            <a:r>
              <a:rPr lang="en-US" err="1"/>
              <a:t>enderitin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ptateve</a:t>
            </a:r>
            <a:r>
              <a:rPr lang="en-US"/>
              <a:t> </a:t>
            </a:r>
            <a:r>
              <a:rPr lang="en-US" err="1"/>
              <a:t>litesseci</a:t>
            </a:r>
            <a:r>
              <a:rPr lang="en-US"/>
              <a:t> </a:t>
            </a:r>
            <a:r>
              <a:rPr lang="en-US" err="1"/>
              <a:t>llumd</a:t>
            </a:r>
            <a:r>
              <a:rPr lang="en-US"/>
              <a:t> </a:t>
            </a:r>
            <a:r>
              <a:rPr lang="en-US" err="1"/>
              <a:t>olore</a:t>
            </a:r>
            <a:r>
              <a:rPr lang="en-US"/>
              <a:t> </a:t>
            </a:r>
            <a:r>
              <a:rPr lang="en-US" err="1"/>
              <a:t>eu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</a:t>
            </a:r>
            <a:r>
              <a:rPr lang="en-US"/>
              <a:t> </a:t>
            </a:r>
            <a:r>
              <a:rPr lang="en-US" err="1"/>
              <a:t>epteursi</a:t>
            </a:r>
            <a:r>
              <a:rPr lang="en-US"/>
              <a:t> </a:t>
            </a:r>
            <a:r>
              <a:rPr lang="en-US" err="1"/>
              <a:t>ntoc</a:t>
            </a:r>
            <a:r>
              <a:rPr lang="en-US"/>
              <a:t> </a:t>
            </a:r>
            <a:r>
              <a:rPr lang="en-US" err="1"/>
              <a:t>caec</a:t>
            </a:r>
            <a:r>
              <a:rPr lang="en-US"/>
              <a:t> </a:t>
            </a:r>
            <a:r>
              <a:rPr lang="en-US" err="1"/>
              <a:t>atcu</a:t>
            </a:r>
            <a:r>
              <a:rPr lang="en-US"/>
              <a:t> </a:t>
            </a:r>
            <a:r>
              <a:rPr lang="en-US" err="1"/>
              <a:t>pidata</a:t>
            </a:r>
            <a:r>
              <a:rPr lang="en-US"/>
              <a:t> </a:t>
            </a:r>
            <a:r>
              <a:rPr lang="en-US" err="1"/>
              <a:t>tnon</a:t>
            </a:r>
            <a:r>
              <a:rPr lang="en-US"/>
              <a:t> </a:t>
            </a:r>
            <a:r>
              <a:rPr lang="en-US" err="1"/>
              <a:t>proident</a:t>
            </a:r>
            <a:r>
              <a:rPr lang="en-US"/>
              <a:t>, sunt in culpa qui office </a:t>
            </a:r>
            <a:r>
              <a:rPr lang="en-US" err="1"/>
              <a:t>adese</a:t>
            </a:r>
            <a:r>
              <a:rPr lang="en-US"/>
              <a:t> </a:t>
            </a:r>
            <a:r>
              <a:rPr lang="en-US" err="1"/>
              <a:t>runtmo</a:t>
            </a:r>
            <a:r>
              <a:rPr lang="en-US"/>
              <a:t> </a:t>
            </a:r>
            <a:r>
              <a:rPr lang="en-US" err="1"/>
              <a:t>llitani</a:t>
            </a:r>
            <a:r>
              <a:rPr lang="en-US"/>
              <a:t> mid </a:t>
            </a:r>
            <a:r>
              <a:rPr lang="en-US" err="1"/>
              <a:t>estla</a:t>
            </a:r>
            <a:r>
              <a:rPr lang="en-US"/>
              <a:t> </a:t>
            </a:r>
            <a:r>
              <a:rPr lang="en-US" err="1"/>
              <a:t>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sed do </a:t>
            </a:r>
            <a:r>
              <a:rPr lang="en-US" err="1"/>
              <a:t>eiusmodtem</a:t>
            </a:r>
            <a:r>
              <a:rPr lang="en-US"/>
              <a:t> </a:t>
            </a:r>
            <a:r>
              <a:rPr lang="en-US" err="1"/>
              <a:t>porinci</a:t>
            </a:r>
            <a:r>
              <a:rPr lang="en-US"/>
              <a:t> </a:t>
            </a:r>
            <a:r>
              <a:rPr lang="en-US" err="1"/>
              <a:t>diduntut</a:t>
            </a:r>
            <a:r>
              <a:rPr lang="en-US"/>
              <a:t> </a:t>
            </a:r>
            <a:r>
              <a:rPr lang="en-US" err="1"/>
              <a:t>labo</a:t>
            </a:r>
            <a:r>
              <a:rPr lang="en-US"/>
              <a:t> </a:t>
            </a:r>
            <a:r>
              <a:rPr lang="en-US" err="1"/>
              <a:t>reet</a:t>
            </a:r>
            <a:r>
              <a:rPr lang="en-US"/>
              <a:t>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ad</a:t>
            </a:r>
            <a:r>
              <a:rPr lang="en-US"/>
              <a:t>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n</a:t>
            </a:r>
            <a:r>
              <a:rPr lang="en-US"/>
              <a:t> </a:t>
            </a:r>
            <a:r>
              <a:rPr lang="en-US" err="1"/>
              <a:t>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</a:t>
            </a:r>
            <a:r>
              <a:rPr lang="en-US"/>
              <a:t> </a:t>
            </a:r>
            <a:r>
              <a:rPr lang="en-US" err="1"/>
              <a:t>risnisi</a:t>
            </a:r>
            <a:r>
              <a:rPr lang="en-US"/>
              <a:t> </a:t>
            </a:r>
            <a:r>
              <a:rPr lang="en-US" err="1"/>
              <a:t>utaliquipex</a:t>
            </a:r>
            <a:r>
              <a:rPr lang="en-US"/>
              <a:t> </a:t>
            </a:r>
            <a:r>
              <a:rPr lang="en-US" err="1"/>
              <a:t>eacommod</a:t>
            </a:r>
            <a:r>
              <a:rPr lang="en-US"/>
              <a:t> </a:t>
            </a:r>
            <a:r>
              <a:rPr lang="en-US" err="1"/>
              <a:t>ocon</a:t>
            </a:r>
            <a:r>
              <a:rPr lang="en-US"/>
              <a:t> </a:t>
            </a:r>
            <a:r>
              <a:rPr lang="en-US" err="1"/>
              <a:t>sequat</a:t>
            </a:r>
            <a:r>
              <a:rPr lang="en-US"/>
              <a:t>. Duis </a:t>
            </a:r>
            <a:r>
              <a:rPr lang="en-US" err="1"/>
              <a:t>auteir</a:t>
            </a:r>
            <a:r>
              <a:rPr lang="en-US"/>
              <a:t> </a:t>
            </a:r>
            <a:r>
              <a:rPr lang="en-US" err="1"/>
              <a:t>uredolor</a:t>
            </a:r>
            <a:r>
              <a:rPr lang="en-US"/>
              <a:t> in </a:t>
            </a:r>
            <a:r>
              <a:rPr lang="en-US" err="1"/>
              <a:t>repreh</a:t>
            </a:r>
            <a:r>
              <a:rPr lang="en-US"/>
              <a:t> </a:t>
            </a:r>
            <a:r>
              <a:rPr lang="en-US" err="1"/>
              <a:t>enderitin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ptateve</a:t>
            </a:r>
            <a:r>
              <a:rPr lang="en-US"/>
              <a:t> </a:t>
            </a:r>
            <a:r>
              <a:rPr lang="en-US" err="1"/>
              <a:t>litesseci</a:t>
            </a:r>
            <a:r>
              <a:rPr lang="en-US"/>
              <a:t> </a:t>
            </a:r>
            <a:r>
              <a:rPr lang="en-US" err="1"/>
              <a:t>llumd</a:t>
            </a:r>
            <a:r>
              <a:rPr lang="en-US"/>
              <a:t> </a:t>
            </a:r>
            <a:r>
              <a:rPr lang="en-US" err="1"/>
              <a:t>olore</a:t>
            </a:r>
            <a:r>
              <a:rPr lang="en-US"/>
              <a:t> </a:t>
            </a:r>
            <a:r>
              <a:rPr lang="en-US" err="1"/>
              <a:t>eu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</a:t>
            </a:r>
            <a:r>
              <a:rPr lang="en-US"/>
              <a:t> </a:t>
            </a:r>
            <a:r>
              <a:rPr lang="en-US" err="1"/>
              <a:t>epteursi</a:t>
            </a:r>
            <a:r>
              <a:rPr lang="en-US"/>
              <a:t> </a:t>
            </a:r>
            <a:r>
              <a:rPr lang="en-US" err="1"/>
              <a:t>ntoc</a:t>
            </a:r>
            <a:r>
              <a:rPr lang="en-US"/>
              <a:t> </a:t>
            </a:r>
            <a:r>
              <a:rPr lang="en-US" err="1"/>
              <a:t>caec</a:t>
            </a:r>
            <a:r>
              <a:rPr lang="en-US"/>
              <a:t> </a:t>
            </a:r>
            <a:r>
              <a:rPr lang="en-US" err="1"/>
              <a:t>atcu</a:t>
            </a:r>
            <a:r>
              <a:rPr lang="en-US"/>
              <a:t> </a:t>
            </a:r>
            <a:r>
              <a:rPr lang="en-US" err="1"/>
              <a:t>pidata</a:t>
            </a:r>
            <a:r>
              <a:rPr lang="en-US"/>
              <a:t> </a:t>
            </a:r>
            <a:r>
              <a:rPr lang="en-US" err="1"/>
              <a:t>tnon</a:t>
            </a:r>
            <a:r>
              <a:rPr lang="en-US"/>
              <a:t> </a:t>
            </a:r>
            <a:r>
              <a:rPr lang="en-US" err="1"/>
              <a:t>proident</a:t>
            </a:r>
            <a:r>
              <a:rPr lang="en-US"/>
              <a:t>, sunt in culpa qui office </a:t>
            </a:r>
            <a:r>
              <a:rPr lang="en-US" err="1"/>
              <a:t>adese</a:t>
            </a:r>
            <a:r>
              <a:rPr lang="en-US"/>
              <a:t> </a:t>
            </a:r>
            <a:r>
              <a:rPr lang="en-US" err="1"/>
              <a:t>runtmo</a:t>
            </a:r>
            <a:r>
              <a:rPr lang="en-US"/>
              <a:t> </a:t>
            </a:r>
            <a:r>
              <a:rPr lang="en-US" err="1"/>
              <a:t>llitani</a:t>
            </a:r>
            <a:r>
              <a:rPr lang="en-US"/>
              <a:t> mid </a:t>
            </a:r>
            <a:r>
              <a:rPr lang="en-US" err="1"/>
              <a:t>estla</a:t>
            </a:r>
            <a:r>
              <a:rPr lang="en-US"/>
              <a:t> </a:t>
            </a:r>
            <a:r>
              <a:rPr lang="en-US" err="1"/>
              <a:t>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sed do </a:t>
            </a:r>
            <a:r>
              <a:rPr lang="en-US" err="1"/>
              <a:t>eiusmodtem</a:t>
            </a:r>
            <a:r>
              <a:rPr lang="en-US"/>
              <a:t> </a:t>
            </a:r>
            <a:r>
              <a:rPr lang="en-US" err="1"/>
              <a:t>porinci</a:t>
            </a:r>
            <a:r>
              <a:rPr lang="en-US"/>
              <a:t> </a:t>
            </a:r>
            <a:r>
              <a:rPr lang="en-US" err="1"/>
              <a:t>diduntut</a:t>
            </a:r>
            <a:r>
              <a:rPr lang="en-US"/>
              <a:t> </a:t>
            </a:r>
            <a:r>
              <a:rPr lang="en-US" err="1"/>
              <a:t>labo</a:t>
            </a:r>
            <a:r>
              <a:rPr lang="en-US"/>
              <a:t> </a:t>
            </a:r>
            <a:r>
              <a:rPr lang="en-US" err="1"/>
              <a:t>reet</a:t>
            </a:r>
            <a:r>
              <a:rPr lang="en-US"/>
              <a:t>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ad</a:t>
            </a:r>
            <a:r>
              <a:rPr lang="en-US"/>
              <a:t>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n</a:t>
            </a:r>
            <a:r>
              <a:rPr lang="en-US"/>
              <a:t> </a:t>
            </a:r>
            <a:r>
              <a:rPr lang="en-US" err="1"/>
              <a:t>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</a:t>
            </a:r>
            <a:r>
              <a:rPr lang="en-US"/>
              <a:t> </a:t>
            </a:r>
            <a:r>
              <a:rPr lang="en-US" err="1"/>
              <a:t>risnisi</a:t>
            </a:r>
            <a:r>
              <a:rPr lang="en-US"/>
              <a:t> </a:t>
            </a:r>
            <a:r>
              <a:rPr lang="en-US" err="1"/>
              <a:t>utaliquipex</a:t>
            </a:r>
            <a:r>
              <a:rPr lang="en-US"/>
              <a:t> </a:t>
            </a:r>
            <a:r>
              <a:rPr lang="en-US" err="1"/>
              <a:t>eacommod</a:t>
            </a:r>
            <a:r>
              <a:rPr lang="en-US"/>
              <a:t> </a:t>
            </a:r>
            <a:r>
              <a:rPr lang="en-US" err="1"/>
              <a:t>ocon</a:t>
            </a:r>
            <a:r>
              <a:rPr lang="en-US"/>
              <a:t> </a:t>
            </a:r>
            <a:r>
              <a:rPr lang="en-US" err="1"/>
              <a:t>sequat</a:t>
            </a:r>
            <a:r>
              <a:rPr lang="en-US"/>
              <a:t>. Duis </a:t>
            </a:r>
            <a:r>
              <a:rPr lang="en-US" err="1"/>
              <a:t>auteir</a:t>
            </a:r>
            <a:r>
              <a:rPr lang="en-US"/>
              <a:t> </a:t>
            </a:r>
            <a:r>
              <a:rPr lang="en-US" err="1"/>
              <a:t>uredolor</a:t>
            </a:r>
            <a:r>
              <a:rPr lang="en-US"/>
              <a:t> in </a:t>
            </a:r>
            <a:r>
              <a:rPr lang="en-US" err="1"/>
              <a:t>repreh</a:t>
            </a:r>
            <a:r>
              <a:rPr lang="en-US"/>
              <a:t> </a:t>
            </a:r>
            <a:r>
              <a:rPr lang="en-US" err="1"/>
              <a:t>enderitin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ptateve</a:t>
            </a:r>
            <a:r>
              <a:rPr lang="en-US"/>
              <a:t> </a:t>
            </a:r>
            <a:r>
              <a:rPr lang="en-US" err="1"/>
              <a:t>litesseci</a:t>
            </a:r>
            <a:r>
              <a:rPr lang="en-US"/>
              <a:t> </a:t>
            </a:r>
            <a:r>
              <a:rPr lang="en-US" err="1"/>
              <a:t>llumd</a:t>
            </a:r>
            <a:r>
              <a:rPr lang="en-US"/>
              <a:t> </a:t>
            </a:r>
            <a:r>
              <a:rPr lang="en-US" err="1"/>
              <a:t>olore</a:t>
            </a:r>
            <a:r>
              <a:rPr lang="en-US"/>
              <a:t> </a:t>
            </a:r>
            <a:r>
              <a:rPr lang="en-US" err="1"/>
              <a:t>eu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</a:t>
            </a:r>
            <a:r>
              <a:rPr lang="en-US"/>
              <a:t> </a:t>
            </a:r>
            <a:r>
              <a:rPr lang="en-US" err="1"/>
              <a:t>epteursi</a:t>
            </a:r>
            <a:r>
              <a:rPr lang="en-US"/>
              <a:t> </a:t>
            </a:r>
            <a:r>
              <a:rPr lang="en-US" err="1"/>
              <a:t>ntoc</a:t>
            </a:r>
            <a:r>
              <a:rPr lang="en-US"/>
              <a:t> </a:t>
            </a:r>
            <a:r>
              <a:rPr lang="en-US" err="1"/>
              <a:t>caec</a:t>
            </a:r>
            <a:r>
              <a:rPr lang="en-US"/>
              <a:t> </a:t>
            </a:r>
            <a:r>
              <a:rPr lang="en-US" err="1"/>
              <a:t>atcu</a:t>
            </a:r>
            <a:r>
              <a:rPr lang="en-US"/>
              <a:t> </a:t>
            </a:r>
            <a:r>
              <a:rPr lang="en-US" err="1"/>
              <a:t>pidata</a:t>
            </a:r>
            <a:r>
              <a:rPr lang="en-US"/>
              <a:t> </a:t>
            </a:r>
            <a:r>
              <a:rPr lang="en-US" err="1"/>
              <a:t>tnon</a:t>
            </a:r>
            <a:r>
              <a:rPr lang="en-US"/>
              <a:t> </a:t>
            </a:r>
            <a:r>
              <a:rPr lang="en-US" err="1"/>
              <a:t>proident</a:t>
            </a:r>
            <a:r>
              <a:rPr lang="en-US"/>
              <a:t>, sunt in culpa qui office </a:t>
            </a:r>
            <a:r>
              <a:rPr lang="en-US" err="1"/>
              <a:t>adese</a:t>
            </a:r>
            <a:r>
              <a:rPr lang="en-US"/>
              <a:t> </a:t>
            </a:r>
            <a:r>
              <a:rPr lang="en-US" err="1"/>
              <a:t>runtmo</a:t>
            </a:r>
            <a:r>
              <a:rPr lang="en-US"/>
              <a:t> </a:t>
            </a:r>
            <a:r>
              <a:rPr lang="en-US" err="1"/>
              <a:t>llitani</a:t>
            </a:r>
            <a:r>
              <a:rPr lang="en-US"/>
              <a:t> mid </a:t>
            </a:r>
            <a:r>
              <a:rPr lang="en-US" err="1"/>
              <a:t>estla</a:t>
            </a:r>
            <a:r>
              <a:rPr lang="en-US"/>
              <a:t> </a:t>
            </a:r>
            <a:r>
              <a:rPr lang="en-US" err="1"/>
              <a:t>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sed do </a:t>
            </a:r>
            <a:r>
              <a:rPr lang="en-US" err="1"/>
              <a:t>eiusmodtem</a:t>
            </a:r>
            <a:r>
              <a:rPr lang="en-US"/>
              <a:t> </a:t>
            </a:r>
            <a:r>
              <a:rPr lang="en-US" err="1"/>
              <a:t>porinci</a:t>
            </a:r>
            <a:r>
              <a:rPr lang="en-US"/>
              <a:t> </a:t>
            </a:r>
            <a:r>
              <a:rPr lang="en-US" err="1"/>
              <a:t>diduntut</a:t>
            </a:r>
            <a:r>
              <a:rPr lang="en-US"/>
              <a:t> </a:t>
            </a:r>
            <a:r>
              <a:rPr lang="en-US" err="1"/>
              <a:t>labo</a:t>
            </a:r>
            <a:r>
              <a:rPr lang="en-US"/>
              <a:t> </a:t>
            </a:r>
            <a:r>
              <a:rPr lang="en-US" err="1"/>
              <a:t>reet</a:t>
            </a:r>
            <a:r>
              <a:rPr lang="en-US"/>
              <a:t>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ad</a:t>
            </a:r>
            <a:r>
              <a:rPr lang="en-US"/>
              <a:t>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n</a:t>
            </a:r>
            <a:r>
              <a:rPr lang="en-US"/>
              <a:t> </a:t>
            </a:r>
            <a:r>
              <a:rPr lang="en-US" err="1"/>
              <a:t>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</a:t>
            </a:r>
            <a:r>
              <a:rPr lang="en-US"/>
              <a:t> </a:t>
            </a:r>
            <a:r>
              <a:rPr lang="en-US" err="1"/>
              <a:t>risnisi</a:t>
            </a:r>
            <a:r>
              <a:rPr lang="en-US"/>
              <a:t> </a:t>
            </a:r>
            <a:r>
              <a:rPr lang="en-US" err="1"/>
              <a:t>utaliquipex</a:t>
            </a:r>
            <a:r>
              <a:rPr lang="en-US"/>
              <a:t> </a:t>
            </a:r>
            <a:r>
              <a:rPr lang="en-US" err="1"/>
              <a:t>eacommod</a:t>
            </a:r>
            <a:r>
              <a:rPr lang="en-US"/>
              <a:t> </a:t>
            </a:r>
            <a:r>
              <a:rPr lang="en-US" err="1"/>
              <a:t>ocon</a:t>
            </a:r>
            <a:r>
              <a:rPr lang="en-US"/>
              <a:t> </a:t>
            </a:r>
            <a:r>
              <a:rPr lang="en-US" err="1"/>
              <a:t>sequat</a:t>
            </a:r>
            <a:r>
              <a:rPr lang="en-US"/>
              <a:t>. Duis </a:t>
            </a:r>
            <a:r>
              <a:rPr lang="en-US" err="1"/>
              <a:t>auteir</a:t>
            </a:r>
            <a:r>
              <a:rPr lang="en-US"/>
              <a:t> </a:t>
            </a:r>
            <a:r>
              <a:rPr lang="en-US" err="1"/>
              <a:t>uredolor</a:t>
            </a:r>
            <a:r>
              <a:rPr lang="en-US"/>
              <a:t> in </a:t>
            </a:r>
            <a:r>
              <a:rPr lang="en-US" err="1"/>
              <a:t>repreh</a:t>
            </a:r>
            <a:r>
              <a:rPr lang="en-US"/>
              <a:t> </a:t>
            </a:r>
            <a:r>
              <a:rPr lang="en-US" err="1"/>
              <a:t>enderitin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ptateve</a:t>
            </a:r>
            <a:r>
              <a:rPr lang="en-US"/>
              <a:t> </a:t>
            </a:r>
            <a:r>
              <a:rPr lang="en-US" err="1"/>
              <a:t>litesseci</a:t>
            </a:r>
            <a:r>
              <a:rPr lang="en-US"/>
              <a:t> </a:t>
            </a:r>
            <a:r>
              <a:rPr lang="en-US" err="1"/>
              <a:t>llumd</a:t>
            </a:r>
            <a:r>
              <a:rPr lang="en-US"/>
              <a:t> </a:t>
            </a:r>
            <a:r>
              <a:rPr lang="en-US" err="1"/>
              <a:t>olore</a:t>
            </a:r>
            <a:r>
              <a:rPr lang="en-US"/>
              <a:t> </a:t>
            </a:r>
            <a:r>
              <a:rPr lang="en-US" err="1"/>
              <a:t>eu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</a:t>
            </a:r>
            <a:r>
              <a:rPr lang="en-US"/>
              <a:t> </a:t>
            </a:r>
            <a:r>
              <a:rPr lang="en-US" err="1"/>
              <a:t>epteursi</a:t>
            </a:r>
            <a:r>
              <a:rPr lang="en-US"/>
              <a:t> </a:t>
            </a:r>
            <a:r>
              <a:rPr lang="en-US" err="1"/>
              <a:t>ntoc</a:t>
            </a:r>
            <a:r>
              <a:rPr lang="en-US"/>
              <a:t> </a:t>
            </a:r>
            <a:r>
              <a:rPr lang="en-US" err="1"/>
              <a:t>caec</a:t>
            </a:r>
            <a:r>
              <a:rPr lang="en-US"/>
              <a:t> </a:t>
            </a:r>
            <a:r>
              <a:rPr lang="en-US" err="1"/>
              <a:t>atcu</a:t>
            </a:r>
            <a:r>
              <a:rPr lang="en-US"/>
              <a:t> </a:t>
            </a:r>
            <a:r>
              <a:rPr lang="en-US" err="1"/>
              <a:t>pidata</a:t>
            </a:r>
            <a:r>
              <a:rPr lang="en-US"/>
              <a:t> </a:t>
            </a:r>
            <a:r>
              <a:rPr lang="en-US" err="1"/>
              <a:t>tnon</a:t>
            </a:r>
            <a:r>
              <a:rPr lang="en-US"/>
              <a:t> </a:t>
            </a:r>
            <a:r>
              <a:rPr lang="en-US" err="1"/>
              <a:t>proident</a:t>
            </a:r>
            <a:r>
              <a:rPr lang="en-US"/>
              <a:t>, sunt in culpa qui office </a:t>
            </a:r>
            <a:r>
              <a:rPr lang="en-US" err="1"/>
              <a:t>adese</a:t>
            </a:r>
            <a:r>
              <a:rPr lang="en-US"/>
              <a:t> </a:t>
            </a:r>
            <a:r>
              <a:rPr lang="en-US" err="1"/>
              <a:t>runtmo</a:t>
            </a:r>
            <a:r>
              <a:rPr lang="en-US"/>
              <a:t> </a:t>
            </a:r>
            <a:r>
              <a:rPr lang="en-US" err="1"/>
              <a:t>llitani</a:t>
            </a:r>
            <a:r>
              <a:rPr lang="en-US"/>
              <a:t> mid.</a:t>
            </a:r>
            <a:endParaRPr lang="en-CA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65D376F-57BE-EDE2-D009-2A5FBAB8A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8300"/>
            <a:ext cx="7783629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764E94B2-B3BC-7523-58D5-DA4CCA23A77C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71475" y="898524"/>
            <a:ext cx="7783629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56F006-5F70-EE6B-E4AF-16F456F3E1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786" y="0"/>
            <a:ext cx="2513739" cy="1205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11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981A03-B90F-4278-8F5E-8B7508EBB1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2887950"/>
            <a:ext cx="2918137" cy="29665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2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C78D19C8-80FE-4493-BB89-D3F77B298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2496977"/>
            <a:ext cx="2918137" cy="39097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tabLst/>
              <a:defRPr sz="15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A13ED90-9D79-4288-B087-359784083C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36931" y="2887950"/>
            <a:ext cx="2918137" cy="29665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2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F52424B6-10F8-4F0E-938F-3F2874316C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931" y="2496977"/>
            <a:ext cx="2918137" cy="39097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tabLst/>
              <a:defRPr sz="15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38D2E607-3176-4CEB-9518-427862B1A2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02388" y="2887950"/>
            <a:ext cx="2918137" cy="29665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2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3E7F68E-8184-47E3-AA2F-E2ED223FAF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02388" y="2496977"/>
            <a:ext cx="2918137" cy="39097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tabLst/>
              <a:defRPr sz="15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70DA3C1-BC41-73B7-A5DE-F87FA4881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8300"/>
            <a:ext cx="7783629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14AFE09-9871-416A-02BA-F5165FDF4388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71475" y="898524"/>
            <a:ext cx="7783629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B52E7CE-CE8F-74EC-B3D6-50B294FC82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786" y="0"/>
            <a:ext cx="2513739" cy="1205345"/>
          </a:xfrm>
          <a:prstGeom prst="rect">
            <a:avLst/>
          </a:prstGeom>
        </p:spPr>
      </p:pic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EC6EE467-B439-F30C-D7EE-187C3AAFD413}"/>
              </a:ext>
            </a:extLst>
          </p:cNvPr>
          <p:cNvSpPr>
            <a:spLocks noGrp="1"/>
          </p:cNvSpPr>
          <p:nvPr>
            <p:ph type="pic" sz="quarter" idx="107" hasCustomPrompt="1"/>
          </p:nvPr>
        </p:nvSpPr>
        <p:spPr>
          <a:xfrm>
            <a:off x="371475" y="1483773"/>
            <a:ext cx="822117" cy="8221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A1A66360-69AC-A17F-C027-3B413E1B2E5E}"/>
              </a:ext>
            </a:extLst>
          </p:cNvPr>
          <p:cNvSpPr>
            <a:spLocks noGrp="1"/>
          </p:cNvSpPr>
          <p:nvPr>
            <p:ph type="pic" sz="quarter" idx="108" hasCustomPrompt="1"/>
          </p:nvPr>
        </p:nvSpPr>
        <p:spPr>
          <a:xfrm>
            <a:off x="4636931" y="1483773"/>
            <a:ext cx="822117" cy="8221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92636007-E8E5-E2C7-1C17-C6EBC414EDEA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8902388" y="1483773"/>
            <a:ext cx="822117" cy="8221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7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</p:spTree>
    <p:extLst>
      <p:ext uri="{BB962C8B-B14F-4D97-AF65-F5344CB8AC3E}">
        <p14:creationId xmlns:p14="http://schemas.microsoft.com/office/powerpoint/2010/main" val="3373584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1F21C89-E5AC-9C10-0514-50844CAF8A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ACF1621-71E5-E326-476A-BE15DDC0D77C}"/>
              </a:ext>
            </a:extLst>
          </p:cNvPr>
          <p:cNvSpPr/>
          <p:nvPr userDrawn="1"/>
        </p:nvSpPr>
        <p:spPr>
          <a:xfrm>
            <a:off x="-1" y="0"/>
            <a:ext cx="12192000" cy="6854646"/>
          </a:xfrm>
          <a:prstGeom prst="rect">
            <a:avLst/>
          </a:prstGeom>
          <a:gradFill>
            <a:gsLst>
              <a:gs pos="36000">
                <a:schemeClr val="accent1">
                  <a:lumMod val="5000"/>
                  <a:lumOff val="95000"/>
                  <a:alpha val="0"/>
                </a:schemeClr>
              </a:gs>
              <a:gs pos="99000">
                <a:schemeClr val="tx1">
                  <a:alpha val="74800"/>
                  <a:lumMod val="85722"/>
                  <a:lumOff val="14278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FF11969-6D74-3167-3139-FE146F4CF2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6003855"/>
            <a:ext cx="4929188" cy="196920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77927417-1691-CC8A-7503-01F7555763B4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CF3A120-FDBE-CE99-4405-B877C7F0C2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821640"/>
            <a:ext cx="5512490" cy="1631707"/>
          </a:xfrm>
          <a:prstGeom prst="rect">
            <a:avLst/>
          </a:prstGeom>
        </p:spPr>
        <p:txBody>
          <a:bodyPr/>
          <a:lstStyle>
            <a:lvl1pPr>
              <a:defRPr sz="6000" b="0">
                <a:solidFill>
                  <a:schemeClr val="bg1"/>
                </a:solidFill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title for a cover slid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1FB1AFC-CC3E-1CE6-E064-6CD0EF31F8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48249"/>
            <a:ext cx="5512489" cy="433967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6" name="Graphic 3">
            <a:extLst>
              <a:ext uri="{FF2B5EF4-FFF2-40B4-BE49-F238E27FC236}">
                <a16:creationId xmlns:a16="http://schemas.microsoft.com/office/drawing/2014/main" id="{29307B1E-F364-ADCD-6FDE-A06A08BEBD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71472" y="379412"/>
            <a:ext cx="2466730" cy="76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234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981A03-B90F-4278-8F5E-8B7508EBB1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9400" y="1872634"/>
            <a:ext cx="4546600" cy="5123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C78D19C8-80FE-4493-BB89-D3F77B298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49400" y="1481663"/>
            <a:ext cx="4546600" cy="31191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tabLst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8E5A872-501A-4E6D-8633-DEFCF4681E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49400" y="3033668"/>
            <a:ext cx="4546600" cy="5123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FF1F19E3-B168-48C5-A9CC-E593226126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49400" y="2642697"/>
            <a:ext cx="4546600" cy="31191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tabLst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DD54FA0E-2704-482E-B19E-104633426A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49400" y="4223098"/>
            <a:ext cx="4546600" cy="5123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5913AA09-FE7F-4348-B139-45AF4A17FD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49400" y="3832127"/>
            <a:ext cx="4546600" cy="31191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tabLst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C4169FA4-8FA2-425F-9368-9B71F9DD0F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74040" y="1872634"/>
            <a:ext cx="4146485" cy="5123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EC81532B-EE8D-4104-8FB5-158025CCE98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74040" y="1481663"/>
            <a:ext cx="4146485" cy="31191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tabLst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24EAC3DC-F411-4F5A-90E2-53D2EC2E378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74040" y="3069236"/>
            <a:ext cx="4146485" cy="5123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B4630A55-1344-4EFC-91AD-4572D5DE6D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74040" y="2678265"/>
            <a:ext cx="4146485" cy="31191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tabLst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1C594BDC-1F08-4AB6-88EE-330E7AFFA8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74040" y="4223098"/>
            <a:ext cx="4146485" cy="5123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FAB9761A-CE7A-4142-B895-F9403E2CBA2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74040" y="3832127"/>
            <a:ext cx="4146485" cy="31191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tabLst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BCF2906-173B-C584-F9FD-E4C22A4680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68300"/>
            <a:ext cx="7783629" cy="361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a headline</a:t>
            </a:r>
            <a:endParaRPr lang="en-CA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0CF97B4-1194-B222-B976-039C65E9483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71475" y="898524"/>
            <a:ext cx="7783629" cy="208867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0374570-5948-547E-AFB5-993968C98A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786" y="0"/>
            <a:ext cx="2513739" cy="1205345"/>
          </a:xfrm>
          <a:prstGeom prst="rect">
            <a:avLst/>
          </a:prstGeom>
        </p:spPr>
      </p:pic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76C00BA-14C4-11DC-8AB8-6B022F592C03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549400" y="5382923"/>
            <a:ext cx="4546600" cy="5123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C8B5DDAC-9409-0353-0E2E-43F41C54740F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549400" y="4991952"/>
            <a:ext cx="4546600" cy="31191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tabLst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61A5C83A-A2D3-F1BC-80DD-DAFCED625653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674040" y="5382923"/>
            <a:ext cx="4146485" cy="5123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4722E248-A5AA-3508-FF8A-B1DEFEE4601B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7674040" y="4991952"/>
            <a:ext cx="4146485" cy="31191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tabLst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0F751BE4-01FF-3F5F-25B3-85D2D8C91DDC}"/>
              </a:ext>
            </a:extLst>
          </p:cNvPr>
          <p:cNvSpPr>
            <a:spLocks noGrp="1"/>
          </p:cNvSpPr>
          <p:nvPr>
            <p:ph type="pic" sz="quarter" idx="107" hasCustomPrompt="1"/>
          </p:nvPr>
        </p:nvSpPr>
        <p:spPr>
          <a:xfrm>
            <a:off x="371475" y="1483773"/>
            <a:ext cx="839280" cy="8392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6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C16325C6-6317-F1CA-0FAF-FE46CF0DE46B}"/>
              </a:ext>
            </a:extLst>
          </p:cNvPr>
          <p:cNvSpPr>
            <a:spLocks noGrp="1"/>
          </p:cNvSpPr>
          <p:nvPr>
            <p:ph type="pic" sz="quarter" idx="108" hasCustomPrompt="1"/>
          </p:nvPr>
        </p:nvSpPr>
        <p:spPr>
          <a:xfrm>
            <a:off x="371475" y="2654484"/>
            <a:ext cx="839280" cy="8392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6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3C941EA-5F09-E05F-1ACB-E97A8DB0400E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371475" y="3825195"/>
            <a:ext cx="839280" cy="8392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6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408551A1-068D-C615-42C9-4A306637152C}"/>
              </a:ext>
            </a:extLst>
          </p:cNvPr>
          <p:cNvSpPr>
            <a:spLocks noGrp="1"/>
          </p:cNvSpPr>
          <p:nvPr>
            <p:ph type="pic" sz="quarter" idx="110" hasCustomPrompt="1"/>
          </p:nvPr>
        </p:nvSpPr>
        <p:spPr>
          <a:xfrm>
            <a:off x="371475" y="4983016"/>
            <a:ext cx="839280" cy="8392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6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41" name="Picture Placeholder 14">
            <a:extLst>
              <a:ext uri="{FF2B5EF4-FFF2-40B4-BE49-F238E27FC236}">
                <a16:creationId xmlns:a16="http://schemas.microsoft.com/office/drawing/2014/main" id="{FA5AC152-4579-E835-40AA-BCBABAAA6C85}"/>
              </a:ext>
            </a:extLst>
          </p:cNvPr>
          <p:cNvSpPr>
            <a:spLocks noGrp="1"/>
          </p:cNvSpPr>
          <p:nvPr>
            <p:ph type="pic" sz="quarter" idx="111" hasCustomPrompt="1"/>
          </p:nvPr>
        </p:nvSpPr>
        <p:spPr>
          <a:xfrm>
            <a:off x="6498898" y="1483773"/>
            <a:ext cx="839280" cy="8392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6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42" name="Picture Placeholder 14">
            <a:extLst>
              <a:ext uri="{FF2B5EF4-FFF2-40B4-BE49-F238E27FC236}">
                <a16:creationId xmlns:a16="http://schemas.microsoft.com/office/drawing/2014/main" id="{81181833-4741-FF72-654A-98CB9AC9EA03}"/>
              </a:ext>
            </a:extLst>
          </p:cNvPr>
          <p:cNvSpPr>
            <a:spLocks noGrp="1"/>
          </p:cNvSpPr>
          <p:nvPr>
            <p:ph type="pic" sz="quarter" idx="112" hasCustomPrompt="1"/>
          </p:nvPr>
        </p:nvSpPr>
        <p:spPr>
          <a:xfrm>
            <a:off x="6498898" y="2654484"/>
            <a:ext cx="839280" cy="8392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6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43" name="Picture Placeholder 14">
            <a:extLst>
              <a:ext uri="{FF2B5EF4-FFF2-40B4-BE49-F238E27FC236}">
                <a16:creationId xmlns:a16="http://schemas.microsoft.com/office/drawing/2014/main" id="{B946AF97-7006-C001-24AB-2859570BE4B8}"/>
              </a:ext>
            </a:extLst>
          </p:cNvPr>
          <p:cNvSpPr>
            <a:spLocks noGrp="1"/>
          </p:cNvSpPr>
          <p:nvPr>
            <p:ph type="pic" sz="quarter" idx="113" hasCustomPrompt="1"/>
          </p:nvPr>
        </p:nvSpPr>
        <p:spPr>
          <a:xfrm>
            <a:off x="6498898" y="3825195"/>
            <a:ext cx="839280" cy="8392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6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  <p:sp>
        <p:nvSpPr>
          <p:cNvPr id="44" name="Picture Placeholder 14">
            <a:extLst>
              <a:ext uri="{FF2B5EF4-FFF2-40B4-BE49-F238E27FC236}">
                <a16:creationId xmlns:a16="http://schemas.microsoft.com/office/drawing/2014/main" id="{8382879B-B838-23DD-5938-EE6D3FFE866C}"/>
              </a:ext>
            </a:extLst>
          </p:cNvPr>
          <p:cNvSpPr>
            <a:spLocks noGrp="1"/>
          </p:cNvSpPr>
          <p:nvPr>
            <p:ph type="pic" sz="quarter" idx="114" hasCustomPrompt="1"/>
          </p:nvPr>
        </p:nvSpPr>
        <p:spPr>
          <a:xfrm>
            <a:off x="6498898" y="4983016"/>
            <a:ext cx="839280" cy="8392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anchor="t"/>
          <a:lstStyle>
            <a:lvl1pPr algn="ctr">
              <a:defRPr sz="600"/>
            </a:lvl1pPr>
          </a:lstStyle>
          <a:p>
            <a:r>
              <a:rPr lang="en-US"/>
              <a:t>Click to add </a:t>
            </a:r>
            <a:br>
              <a:rPr lang="en-US"/>
            </a:br>
            <a:r>
              <a:rPr lang="en-US"/>
              <a:t>an icon</a:t>
            </a:r>
          </a:p>
        </p:txBody>
      </p:sp>
    </p:spTree>
    <p:extLst>
      <p:ext uri="{BB962C8B-B14F-4D97-AF65-F5344CB8AC3E}">
        <p14:creationId xmlns:p14="http://schemas.microsoft.com/office/powerpoint/2010/main" val="3135213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with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4">
            <a:extLst>
              <a:ext uri="{FF2B5EF4-FFF2-40B4-BE49-F238E27FC236}">
                <a16:creationId xmlns:a16="http://schemas.microsoft.com/office/drawing/2014/main" id="{B753937D-C8DB-8561-9056-DEA70DDEDB3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0" y="-2"/>
            <a:ext cx="6089650" cy="68580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anchor="t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mage to insert</a:t>
            </a:r>
          </a:p>
        </p:txBody>
      </p:sp>
      <p:cxnSp>
        <p:nvCxnSpPr>
          <p:cNvPr id="12" name="Straight Connector 11" hidden="1">
            <a:extLst>
              <a:ext uri="{FF2B5EF4-FFF2-40B4-BE49-F238E27FC236}">
                <a16:creationId xmlns:a16="http://schemas.microsoft.com/office/drawing/2014/main" id="{2C0A61B0-025F-4C58-A776-528280C0999A}"/>
              </a:ext>
            </a:extLst>
          </p:cNvPr>
          <p:cNvCxnSpPr>
            <a:cxnSpLocks/>
          </p:cNvCxnSpPr>
          <p:nvPr userDrawn="1"/>
        </p:nvCxnSpPr>
        <p:spPr>
          <a:xfrm>
            <a:off x="335280" y="6188057"/>
            <a:ext cx="1151187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Shape, arrow&#10;&#10;Description automatically generated" hidden="1">
            <a:extLst>
              <a:ext uri="{FF2B5EF4-FFF2-40B4-BE49-F238E27FC236}">
                <a16:creationId xmlns:a16="http://schemas.microsoft.com/office/drawing/2014/main" id="{049ADD0C-0950-4AF1-B86D-A41D72DAA1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76"/>
          <a:stretch/>
        </p:blipFill>
        <p:spPr>
          <a:xfrm>
            <a:off x="1004935" y="1689909"/>
            <a:ext cx="5084891" cy="5168092"/>
          </a:xfrm>
          <a:prstGeom prst="rect">
            <a:avLst/>
          </a:prstGeom>
        </p:spPr>
      </p:pic>
      <p:sp>
        <p:nvSpPr>
          <p:cNvPr id="16" name="Freeform: Shape 15" hidden="1">
            <a:extLst>
              <a:ext uri="{FF2B5EF4-FFF2-40B4-BE49-F238E27FC236}">
                <a16:creationId xmlns:a16="http://schemas.microsoft.com/office/drawing/2014/main" id="{C853DE17-2DAC-402E-B17E-EEFFCC78A25D}"/>
              </a:ext>
            </a:extLst>
          </p:cNvPr>
          <p:cNvSpPr/>
          <p:nvPr userDrawn="1"/>
        </p:nvSpPr>
        <p:spPr>
          <a:xfrm>
            <a:off x="983386" y="2956846"/>
            <a:ext cx="5106440" cy="3901154"/>
          </a:xfrm>
          <a:custGeom>
            <a:avLst/>
            <a:gdLst>
              <a:gd name="connsiteX0" fmla="*/ 5100605 w 5106440"/>
              <a:gd name="connsiteY0" fmla="*/ 0 h 3901154"/>
              <a:gd name="connsiteX1" fmla="*/ 5106440 w 5106440"/>
              <a:gd name="connsiteY1" fmla="*/ 0 h 3901154"/>
              <a:gd name="connsiteX2" fmla="*/ 5106440 w 5106440"/>
              <a:gd name="connsiteY2" fmla="*/ 2405946 h 3901154"/>
              <a:gd name="connsiteX3" fmla="*/ 5055324 w 5106440"/>
              <a:gd name="connsiteY3" fmla="*/ 2482316 h 3901154"/>
              <a:gd name="connsiteX4" fmla="*/ 3890822 w 5106440"/>
              <a:gd name="connsiteY4" fmla="*/ 3901154 h 3901154"/>
              <a:gd name="connsiteX5" fmla="*/ 0 w 5106440"/>
              <a:gd name="connsiteY5" fmla="*/ 3901154 h 3901154"/>
              <a:gd name="connsiteX6" fmla="*/ 2505182 w 5106440"/>
              <a:gd name="connsiteY6" fmla="*/ 3371970 h 3901154"/>
              <a:gd name="connsiteX7" fmla="*/ 4120669 w 5106440"/>
              <a:gd name="connsiteY7" fmla="*/ 1584302 h 3901154"/>
              <a:gd name="connsiteX8" fmla="*/ 4669449 w 5106440"/>
              <a:gd name="connsiteY8" fmla="*/ 701485 h 3901154"/>
              <a:gd name="connsiteX9" fmla="*/ 5100605 w 5106440"/>
              <a:gd name="connsiteY9" fmla="*/ 0 h 390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106440" h="3901154">
                <a:moveTo>
                  <a:pt x="5100605" y="0"/>
                </a:moveTo>
                <a:lnTo>
                  <a:pt x="5106440" y="0"/>
                </a:lnTo>
                <a:lnTo>
                  <a:pt x="5106440" y="2405946"/>
                </a:lnTo>
                <a:lnTo>
                  <a:pt x="5055324" y="2482316"/>
                </a:lnTo>
                <a:cubicBezTo>
                  <a:pt x="4659013" y="3065516"/>
                  <a:pt x="4296767" y="3531042"/>
                  <a:pt x="3890822" y="3901154"/>
                </a:cubicBezTo>
                <a:lnTo>
                  <a:pt x="0" y="3901154"/>
                </a:lnTo>
                <a:cubicBezTo>
                  <a:pt x="1166206" y="3862143"/>
                  <a:pt x="1932877" y="3697427"/>
                  <a:pt x="2505182" y="3371970"/>
                </a:cubicBezTo>
                <a:cubicBezTo>
                  <a:pt x="3154616" y="3002444"/>
                  <a:pt x="3566876" y="2424134"/>
                  <a:pt x="4120669" y="1584302"/>
                </a:cubicBezTo>
                <a:cubicBezTo>
                  <a:pt x="4313494" y="1292077"/>
                  <a:pt x="4494364" y="991905"/>
                  <a:pt x="4669449" y="701485"/>
                </a:cubicBezTo>
                <a:cubicBezTo>
                  <a:pt x="4810597" y="467777"/>
                  <a:pt x="4952130" y="232625"/>
                  <a:pt x="5100605" y="0"/>
                </a:cubicBezTo>
                <a:close/>
              </a:path>
            </a:pathLst>
          </a:custGeom>
          <a:gradFill>
            <a:gsLst>
              <a:gs pos="36000">
                <a:schemeClr val="accent1"/>
              </a:gs>
              <a:gs pos="85000">
                <a:schemeClr val="accent2"/>
              </a:gs>
            </a:gsLst>
            <a:lin ang="7800000" scaled="0"/>
          </a:gradFill>
          <a:ln w="634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CA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88B723B-E417-A255-6830-AB3FBCF5A1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66800" y="4070499"/>
            <a:ext cx="5353725" cy="6748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2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CA"/>
              <a:t>This is a subhead for added messaging on a breaker slide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033D9A0-C4D8-330A-53CD-CBB5620EEA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66800" y="2537797"/>
            <a:ext cx="5353725" cy="1160836"/>
          </a:xfrm>
          <a:prstGeom prst="rect">
            <a:avLst/>
          </a:prstGeom>
        </p:spPr>
        <p:txBody>
          <a:bodyPr anchor="t" anchorCtr="0"/>
          <a:lstStyle>
            <a:lvl1pPr algn="l">
              <a:defRPr sz="4500" b="0">
                <a:latin typeface="DM Serif Text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breaker slide with an image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73DC4F-BBE6-C87B-FAB1-5978C7AAEE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6660" y="0"/>
            <a:ext cx="3293866" cy="1579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734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with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 hidden="1">
            <a:extLst>
              <a:ext uri="{FF2B5EF4-FFF2-40B4-BE49-F238E27FC236}">
                <a16:creationId xmlns:a16="http://schemas.microsoft.com/office/drawing/2014/main" id="{2C0A61B0-025F-4C58-A776-528280C0999A}"/>
              </a:ext>
            </a:extLst>
          </p:cNvPr>
          <p:cNvCxnSpPr>
            <a:cxnSpLocks/>
          </p:cNvCxnSpPr>
          <p:nvPr userDrawn="1"/>
        </p:nvCxnSpPr>
        <p:spPr>
          <a:xfrm>
            <a:off x="335280" y="6188057"/>
            <a:ext cx="1151187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Shape, arrow&#10;&#10;Description automatically generated" hidden="1">
            <a:extLst>
              <a:ext uri="{FF2B5EF4-FFF2-40B4-BE49-F238E27FC236}">
                <a16:creationId xmlns:a16="http://schemas.microsoft.com/office/drawing/2014/main" id="{049ADD0C-0950-4AF1-B86D-A41D72DAA1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76"/>
          <a:stretch/>
        </p:blipFill>
        <p:spPr>
          <a:xfrm>
            <a:off x="1004935" y="1689909"/>
            <a:ext cx="5084891" cy="5168092"/>
          </a:xfrm>
          <a:prstGeom prst="rect">
            <a:avLst/>
          </a:prstGeom>
        </p:spPr>
      </p:pic>
      <p:sp>
        <p:nvSpPr>
          <p:cNvPr id="16" name="Freeform: Shape 15" hidden="1">
            <a:extLst>
              <a:ext uri="{FF2B5EF4-FFF2-40B4-BE49-F238E27FC236}">
                <a16:creationId xmlns:a16="http://schemas.microsoft.com/office/drawing/2014/main" id="{C853DE17-2DAC-402E-B17E-EEFFCC78A25D}"/>
              </a:ext>
            </a:extLst>
          </p:cNvPr>
          <p:cNvSpPr/>
          <p:nvPr userDrawn="1"/>
        </p:nvSpPr>
        <p:spPr>
          <a:xfrm>
            <a:off x="983386" y="2956846"/>
            <a:ext cx="5106440" cy="3901154"/>
          </a:xfrm>
          <a:custGeom>
            <a:avLst/>
            <a:gdLst>
              <a:gd name="connsiteX0" fmla="*/ 5100605 w 5106440"/>
              <a:gd name="connsiteY0" fmla="*/ 0 h 3901154"/>
              <a:gd name="connsiteX1" fmla="*/ 5106440 w 5106440"/>
              <a:gd name="connsiteY1" fmla="*/ 0 h 3901154"/>
              <a:gd name="connsiteX2" fmla="*/ 5106440 w 5106440"/>
              <a:gd name="connsiteY2" fmla="*/ 2405946 h 3901154"/>
              <a:gd name="connsiteX3" fmla="*/ 5055324 w 5106440"/>
              <a:gd name="connsiteY3" fmla="*/ 2482316 h 3901154"/>
              <a:gd name="connsiteX4" fmla="*/ 3890822 w 5106440"/>
              <a:gd name="connsiteY4" fmla="*/ 3901154 h 3901154"/>
              <a:gd name="connsiteX5" fmla="*/ 0 w 5106440"/>
              <a:gd name="connsiteY5" fmla="*/ 3901154 h 3901154"/>
              <a:gd name="connsiteX6" fmla="*/ 2505182 w 5106440"/>
              <a:gd name="connsiteY6" fmla="*/ 3371970 h 3901154"/>
              <a:gd name="connsiteX7" fmla="*/ 4120669 w 5106440"/>
              <a:gd name="connsiteY7" fmla="*/ 1584302 h 3901154"/>
              <a:gd name="connsiteX8" fmla="*/ 4669449 w 5106440"/>
              <a:gd name="connsiteY8" fmla="*/ 701485 h 3901154"/>
              <a:gd name="connsiteX9" fmla="*/ 5100605 w 5106440"/>
              <a:gd name="connsiteY9" fmla="*/ 0 h 390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106440" h="3901154">
                <a:moveTo>
                  <a:pt x="5100605" y="0"/>
                </a:moveTo>
                <a:lnTo>
                  <a:pt x="5106440" y="0"/>
                </a:lnTo>
                <a:lnTo>
                  <a:pt x="5106440" y="2405946"/>
                </a:lnTo>
                <a:lnTo>
                  <a:pt x="5055324" y="2482316"/>
                </a:lnTo>
                <a:cubicBezTo>
                  <a:pt x="4659013" y="3065516"/>
                  <a:pt x="4296767" y="3531042"/>
                  <a:pt x="3890822" y="3901154"/>
                </a:cubicBezTo>
                <a:lnTo>
                  <a:pt x="0" y="3901154"/>
                </a:lnTo>
                <a:cubicBezTo>
                  <a:pt x="1166206" y="3862143"/>
                  <a:pt x="1932877" y="3697427"/>
                  <a:pt x="2505182" y="3371970"/>
                </a:cubicBezTo>
                <a:cubicBezTo>
                  <a:pt x="3154616" y="3002444"/>
                  <a:pt x="3566876" y="2424134"/>
                  <a:pt x="4120669" y="1584302"/>
                </a:cubicBezTo>
                <a:cubicBezTo>
                  <a:pt x="4313494" y="1292077"/>
                  <a:pt x="4494364" y="991905"/>
                  <a:pt x="4669449" y="701485"/>
                </a:cubicBezTo>
                <a:cubicBezTo>
                  <a:pt x="4810597" y="467777"/>
                  <a:pt x="4952130" y="232625"/>
                  <a:pt x="5100605" y="0"/>
                </a:cubicBezTo>
                <a:close/>
              </a:path>
            </a:pathLst>
          </a:custGeom>
          <a:gradFill>
            <a:gsLst>
              <a:gs pos="36000">
                <a:schemeClr val="accent1"/>
              </a:gs>
              <a:gs pos="85000">
                <a:schemeClr val="accent2"/>
              </a:gs>
            </a:gsLst>
            <a:lin ang="7800000" scaled="0"/>
          </a:gradFill>
          <a:ln w="634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CA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1FD5FBC-21AC-491F-9762-EC9EAED1C100}"/>
              </a:ext>
            </a:extLst>
          </p:cNvPr>
          <p:cNvSpPr/>
          <p:nvPr userDrawn="1"/>
        </p:nvSpPr>
        <p:spPr>
          <a:xfrm>
            <a:off x="0" y="0"/>
            <a:ext cx="6089650" cy="6858001"/>
          </a:xfrm>
          <a:prstGeom prst="rect">
            <a:avLst/>
          </a:prstGeom>
          <a:gradFill>
            <a:gsLst>
              <a:gs pos="36000">
                <a:schemeClr val="accent1"/>
              </a:gs>
              <a:gs pos="85000">
                <a:schemeClr val="accent2"/>
              </a:gs>
            </a:gsLst>
            <a:lin ang="7800000" scaled="0"/>
          </a:gradFill>
          <a:ln w="634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CA">
              <a:solidFill>
                <a:schemeClr val="tx1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1A00F1ED-9B08-4AA0-8EED-416DD95F358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89650" cy="6858000"/>
          </a:xfrm>
          <a:custGeom>
            <a:avLst/>
            <a:gdLst>
              <a:gd name="connsiteX0" fmla="*/ 6089650 w 6089650"/>
              <a:gd name="connsiteY0" fmla="*/ 5363055 h 6858000"/>
              <a:gd name="connsiteX1" fmla="*/ 6089650 w 6089650"/>
              <a:gd name="connsiteY1" fmla="*/ 6858000 h 6858000"/>
              <a:gd name="connsiteX2" fmla="*/ 4874208 w 6089650"/>
              <a:gd name="connsiteY2" fmla="*/ 6858000 h 6858000"/>
              <a:gd name="connsiteX3" fmla="*/ 6038710 w 6089650"/>
              <a:gd name="connsiteY3" fmla="*/ 5439162 h 6858000"/>
              <a:gd name="connsiteX4" fmla="*/ 0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2956846 h 6858000"/>
              <a:gd name="connsiteX7" fmla="*/ 6083991 w 6089650"/>
              <a:gd name="connsiteY7" fmla="*/ 2956846 h 6858000"/>
              <a:gd name="connsiteX8" fmla="*/ 5652835 w 6089650"/>
              <a:gd name="connsiteY8" fmla="*/ 3658331 h 6858000"/>
              <a:gd name="connsiteX9" fmla="*/ 5104055 w 6089650"/>
              <a:gd name="connsiteY9" fmla="*/ 4541148 h 6858000"/>
              <a:gd name="connsiteX10" fmla="*/ 3488568 w 6089650"/>
              <a:gd name="connsiteY10" fmla="*/ 6328816 h 6858000"/>
              <a:gd name="connsiteX11" fmla="*/ 983386 w 6089650"/>
              <a:gd name="connsiteY11" fmla="*/ 6858000 h 6858000"/>
              <a:gd name="connsiteX12" fmla="*/ 0 w 6089650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9650" h="6858000">
                <a:moveTo>
                  <a:pt x="6089650" y="5363055"/>
                </a:moveTo>
                <a:lnTo>
                  <a:pt x="6089650" y="6858000"/>
                </a:lnTo>
                <a:lnTo>
                  <a:pt x="4874208" y="6858000"/>
                </a:lnTo>
                <a:cubicBezTo>
                  <a:pt x="5280153" y="6487888"/>
                  <a:pt x="5642399" y="6022362"/>
                  <a:pt x="6038710" y="5439162"/>
                </a:cubicBezTo>
                <a:close/>
                <a:moveTo>
                  <a:pt x="0" y="0"/>
                </a:moveTo>
                <a:lnTo>
                  <a:pt x="6089650" y="0"/>
                </a:lnTo>
                <a:lnTo>
                  <a:pt x="6089650" y="2956846"/>
                </a:lnTo>
                <a:lnTo>
                  <a:pt x="6083991" y="2956846"/>
                </a:lnTo>
                <a:cubicBezTo>
                  <a:pt x="5935516" y="3189471"/>
                  <a:pt x="5793983" y="3424623"/>
                  <a:pt x="5652835" y="3658331"/>
                </a:cubicBezTo>
                <a:cubicBezTo>
                  <a:pt x="5477750" y="3948751"/>
                  <a:pt x="5296880" y="4248923"/>
                  <a:pt x="5104055" y="4541148"/>
                </a:cubicBezTo>
                <a:cubicBezTo>
                  <a:pt x="4550262" y="5380980"/>
                  <a:pt x="4138002" y="5959290"/>
                  <a:pt x="3488568" y="6328816"/>
                </a:cubicBezTo>
                <a:cubicBezTo>
                  <a:pt x="2916263" y="6654273"/>
                  <a:pt x="2149592" y="6818989"/>
                  <a:pt x="983386" y="6858000"/>
                </a:cubicBezTo>
                <a:lnTo>
                  <a:pt x="0" y="6858000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48" cap="flat">
            <a:noFill/>
            <a:prstDash val="solid"/>
            <a:miter/>
          </a:ln>
        </p:spPr>
        <p:txBody>
          <a:bodyPr wrap="square" rtlCol="0" anchor="t" anchorCtr="0">
            <a:noAutofit/>
          </a:bodyPr>
          <a:lstStyle>
            <a:lvl1pPr>
              <a:buNone/>
              <a:defRPr lang="en-CA" sz="1100">
                <a:solidFill>
                  <a:schemeClr val="bg1"/>
                </a:solidFill>
              </a:defRPr>
            </a:lvl1pPr>
          </a:lstStyle>
          <a:p>
            <a:r>
              <a:rPr lang="en-CA"/>
              <a:t>Click image to insert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88B723B-E417-A255-6830-AB3FBCF5A1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66800" y="3737990"/>
            <a:ext cx="5353725" cy="6748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2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CA"/>
              <a:t>This is a subhead for added messaging on a breaker slide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033D9A0-C4D8-330A-53CD-CBB5620EEA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66800" y="2205288"/>
            <a:ext cx="5353725" cy="1160836"/>
          </a:xfrm>
          <a:prstGeom prst="rect">
            <a:avLst/>
          </a:prstGeom>
        </p:spPr>
        <p:txBody>
          <a:bodyPr anchor="t" anchorCtr="0"/>
          <a:lstStyle>
            <a:lvl1pPr algn="l">
              <a:defRPr sz="4500" b="0">
                <a:latin typeface="DM Serif Text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breaker slide with an image.</a:t>
            </a:r>
          </a:p>
        </p:txBody>
      </p:sp>
    </p:spTree>
    <p:extLst>
      <p:ext uri="{BB962C8B-B14F-4D97-AF65-F5344CB8AC3E}">
        <p14:creationId xmlns:p14="http://schemas.microsoft.com/office/powerpoint/2010/main" val="389615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with imag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 hidden="1">
            <a:extLst>
              <a:ext uri="{FF2B5EF4-FFF2-40B4-BE49-F238E27FC236}">
                <a16:creationId xmlns:a16="http://schemas.microsoft.com/office/drawing/2014/main" id="{2C0A61B0-025F-4C58-A776-528280C0999A}"/>
              </a:ext>
            </a:extLst>
          </p:cNvPr>
          <p:cNvCxnSpPr>
            <a:cxnSpLocks/>
          </p:cNvCxnSpPr>
          <p:nvPr userDrawn="1"/>
        </p:nvCxnSpPr>
        <p:spPr>
          <a:xfrm>
            <a:off x="335280" y="6188057"/>
            <a:ext cx="1151187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 hidden="1">
            <a:extLst>
              <a:ext uri="{FF2B5EF4-FFF2-40B4-BE49-F238E27FC236}">
                <a16:creationId xmlns:a16="http://schemas.microsoft.com/office/drawing/2014/main" id="{49087F09-D17D-48A4-9961-65A20DE371D7}"/>
              </a:ext>
            </a:extLst>
          </p:cNvPr>
          <p:cNvGrpSpPr/>
          <p:nvPr userDrawn="1"/>
        </p:nvGrpSpPr>
        <p:grpSpPr>
          <a:xfrm>
            <a:off x="0" y="-2266262"/>
            <a:ext cx="8821541" cy="11658090"/>
            <a:chOff x="0" y="-2266262"/>
            <a:chExt cx="8821541" cy="11658090"/>
          </a:xfrm>
        </p:grpSpPr>
        <p:sp>
          <p:nvSpPr>
            <p:cNvPr id="33" name="Circle: Hollow 32">
              <a:extLst>
                <a:ext uri="{FF2B5EF4-FFF2-40B4-BE49-F238E27FC236}">
                  <a16:creationId xmlns:a16="http://schemas.microsoft.com/office/drawing/2014/main" id="{15BA156B-2A71-4B3A-9F39-48A41EA3B262}"/>
                </a:ext>
              </a:extLst>
            </p:cNvPr>
            <p:cNvSpPr/>
            <p:nvPr userDrawn="1"/>
          </p:nvSpPr>
          <p:spPr>
            <a:xfrm>
              <a:off x="0" y="-2266262"/>
              <a:ext cx="4328160" cy="4328160"/>
            </a:xfrm>
            <a:prstGeom prst="donut">
              <a:avLst>
                <a:gd name="adj" fmla="val 23931"/>
              </a:avLst>
            </a:prstGeom>
            <a:gradFill>
              <a:gsLst>
                <a:gs pos="36000">
                  <a:schemeClr val="accent1"/>
                </a:gs>
                <a:gs pos="82000">
                  <a:schemeClr val="accent2"/>
                </a:gs>
              </a:gsLst>
              <a:lin ang="13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>
                <a:solidFill>
                  <a:schemeClr val="tx1"/>
                </a:solidFill>
              </a:endParaRPr>
            </a:p>
          </p:txBody>
        </p:sp>
        <p:sp>
          <p:nvSpPr>
            <p:cNvPr id="34" name="Circle: Hollow 33">
              <a:extLst>
                <a:ext uri="{FF2B5EF4-FFF2-40B4-BE49-F238E27FC236}">
                  <a16:creationId xmlns:a16="http://schemas.microsoft.com/office/drawing/2014/main" id="{122C56C5-B5D6-4F17-9CA6-9CE477C12D29}"/>
                </a:ext>
              </a:extLst>
            </p:cNvPr>
            <p:cNvSpPr/>
            <p:nvPr userDrawn="1"/>
          </p:nvSpPr>
          <p:spPr>
            <a:xfrm rot="16200000">
              <a:off x="3985919" y="4556206"/>
              <a:ext cx="4835622" cy="4835622"/>
            </a:xfrm>
            <a:prstGeom prst="donut">
              <a:avLst>
                <a:gd name="adj" fmla="val 23931"/>
              </a:avLst>
            </a:prstGeom>
            <a:gradFill>
              <a:gsLst>
                <a:gs pos="33000">
                  <a:schemeClr val="accent1"/>
                </a:gs>
                <a:gs pos="75000">
                  <a:schemeClr val="accent2"/>
                </a:gs>
              </a:gsLst>
              <a:lin ang="13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>
                <a:solidFill>
                  <a:schemeClr val="tx1"/>
                </a:solidFill>
              </a:endParaRPr>
            </a:p>
          </p:txBody>
        </p:sp>
      </p:grp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CAF991-FBEF-8A6D-F3D2-0719C21991F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0" y="-12832"/>
            <a:ext cx="6096000" cy="6858000"/>
          </a:xfrm>
          <a:custGeom>
            <a:avLst/>
            <a:gdLst>
              <a:gd name="connsiteX0" fmla="*/ 6096000 w 6096000"/>
              <a:gd name="connsiteY0" fmla="*/ 5593573 h 6858000"/>
              <a:gd name="connsiteX1" fmla="*/ 6096000 w 6096000"/>
              <a:gd name="connsiteY1" fmla="*/ 6858000 h 6858000"/>
              <a:gd name="connsiteX2" fmla="*/ 4819389 w 6096000"/>
              <a:gd name="connsiteY2" fmla="*/ 6858000 h 6858000"/>
              <a:gd name="connsiteX3" fmla="*/ 4825336 w 6096000"/>
              <a:gd name="connsiteY3" fmla="*/ 6740241 h 6858000"/>
              <a:gd name="connsiteX4" fmla="*/ 5965409 w 6096000"/>
              <a:gd name="connsiteY4" fmla="*/ 5600168 h 6858000"/>
              <a:gd name="connsiteX5" fmla="*/ 0 w 6096000"/>
              <a:gd name="connsiteY5" fmla="*/ 0 h 6858000"/>
              <a:gd name="connsiteX6" fmla="*/ 6096000 w 6096000"/>
              <a:gd name="connsiteY6" fmla="*/ 0 h 6858000"/>
              <a:gd name="connsiteX7" fmla="*/ 6096000 w 6096000"/>
              <a:gd name="connsiteY7" fmla="*/ 4489432 h 6858000"/>
              <a:gd name="connsiteX8" fmla="*/ 3726895 w 6096000"/>
              <a:gd name="connsiteY8" fmla="*/ 6627348 h 6858000"/>
              <a:gd name="connsiteX9" fmla="*/ 3715248 w 6096000"/>
              <a:gd name="connsiteY9" fmla="*/ 6858000 h 6858000"/>
              <a:gd name="connsiteX10" fmla="*/ 0 w 6096000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096000" h="6858000">
                <a:moveTo>
                  <a:pt x="6096000" y="5593573"/>
                </a:moveTo>
                <a:lnTo>
                  <a:pt x="6096000" y="6858000"/>
                </a:lnTo>
                <a:lnTo>
                  <a:pt x="4819389" y="6858000"/>
                </a:lnTo>
                <a:lnTo>
                  <a:pt x="4825336" y="6740241"/>
                </a:lnTo>
                <a:cubicBezTo>
                  <a:pt x="4886383" y="6139113"/>
                  <a:pt x="5364281" y="5661215"/>
                  <a:pt x="5965409" y="5600168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4489432"/>
                </a:lnTo>
                <a:cubicBezTo>
                  <a:pt x="4862990" y="4489432"/>
                  <a:pt x="3848847" y="5426512"/>
                  <a:pt x="3726895" y="6627348"/>
                </a:cubicBezTo>
                <a:lnTo>
                  <a:pt x="3715248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>
            <a:noFill/>
          </a:ln>
        </p:spPr>
        <p:txBody>
          <a:bodyPr wrap="square" anchor="t">
            <a:noAutofit/>
          </a:bodyPr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mage to insert</a:t>
            </a: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F77100A0-3FCC-87B4-FC62-881DE71E9BB2}"/>
              </a:ext>
            </a:extLst>
          </p:cNvPr>
          <p:cNvSpPr/>
          <p:nvPr userDrawn="1"/>
        </p:nvSpPr>
        <p:spPr>
          <a:xfrm>
            <a:off x="3714600" y="4476600"/>
            <a:ext cx="2381400" cy="2381400"/>
          </a:xfrm>
          <a:custGeom>
            <a:avLst/>
            <a:gdLst>
              <a:gd name="connsiteX0" fmla="*/ 2381400 w 2381400"/>
              <a:gd name="connsiteY0" fmla="*/ 0 h 2381400"/>
              <a:gd name="connsiteX1" fmla="*/ 2381400 w 2381400"/>
              <a:gd name="connsiteY1" fmla="*/ 1104141 h 2381400"/>
              <a:gd name="connsiteX2" fmla="*/ 2250809 w 2381400"/>
              <a:gd name="connsiteY2" fmla="*/ 1110736 h 2381400"/>
              <a:gd name="connsiteX3" fmla="*/ 1110736 w 2381400"/>
              <a:gd name="connsiteY3" fmla="*/ 2250809 h 2381400"/>
              <a:gd name="connsiteX4" fmla="*/ 1104141 w 2381400"/>
              <a:gd name="connsiteY4" fmla="*/ 2381400 h 2381400"/>
              <a:gd name="connsiteX5" fmla="*/ 0 w 2381400"/>
              <a:gd name="connsiteY5" fmla="*/ 2381400 h 2381400"/>
              <a:gd name="connsiteX6" fmla="*/ 2381400 w 2381400"/>
              <a:gd name="connsiteY6" fmla="*/ 0 h 2381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1400" h="2381400">
                <a:moveTo>
                  <a:pt x="2381400" y="0"/>
                </a:moveTo>
                <a:lnTo>
                  <a:pt x="2381400" y="1104141"/>
                </a:lnTo>
                <a:lnTo>
                  <a:pt x="2250809" y="1110736"/>
                </a:lnTo>
                <a:cubicBezTo>
                  <a:pt x="1649681" y="1171784"/>
                  <a:pt x="1171784" y="1649681"/>
                  <a:pt x="1110736" y="2250809"/>
                </a:cubicBezTo>
                <a:lnTo>
                  <a:pt x="1104141" y="2381400"/>
                </a:lnTo>
                <a:lnTo>
                  <a:pt x="0" y="2381400"/>
                </a:lnTo>
                <a:cubicBezTo>
                  <a:pt x="0" y="1066189"/>
                  <a:pt x="1066189" y="0"/>
                  <a:pt x="2381400" y="0"/>
                </a:cubicBezTo>
                <a:close/>
              </a:path>
            </a:pathLst>
          </a:custGeom>
          <a:gradFill>
            <a:gsLst>
              <a:gs pos="33000">
                <a:schemeClr val="accent1"/>
              </a:gs>
              <a:gs pos="100000">
                <a:schemeClr val="accent2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34B35320-CBE5-A3B8-23D9-480E11AE9A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66800" y="3737990"/>
            <a:ext cx="5353725" cy="6748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2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CA"/>
              <a:t>This is a subhead for added messaging on a breaker slide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B8A0DFD3-5CBE-92CD-7673-E7E61CB680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66800" y="2205288"/>
            <a:ext cx="5353725" cy="1160836"/>
          </a:xfrm>
          <a:prstGeom prst="rect">
            <a:avLst/>
          </a:prstGeom>
        </p:spPr>
        <p:txBody>
          <a:bodyPr anchor="t" anchorCtr="0"/>
          <a:lstStyle>
            <a:lvl1pPr algn="l">
              <a:defRPr sz="4500" b="0">
                <a:latin typeface="DM Serif Text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breaker slide with an image.</a:t>
            </a:r>
          </a:p>
        </p:txBody>
      </p:sp>
    </p:spTree>
    <p:extLst>
      <p:ext uri="{BB962C8B-B14F-4D97-AF65-F5344CB8AC3E}">
        <p14:creationId xmlns:p14="http://schemas.microsoft.com/office/powerpoint/2010/main" val="110661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+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B001A67B-4E32-684F-9E0B-FF17ABE3CE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07821" y="3978054"/>
            <a:ext cx="5976358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latin typeface="DM Sans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ctr">
              <a:buNone/>
            </a:pPr>
            <a:r>
              <a:rPr lang="en-US" sz="2400">
                <a:solidFill>
                  <a:srgbClr val="40454D"/>
                </a:solidFill>
                <a:latin typeface="DM Sans" pitchFamily="2" charset="0"/>
                <a:cs typeface="DM Sans" pitchFamily="2" charset="0"/>
              </a:rPr>
              <a:t>This is a subhead for added messaging </a:t>
            </a:r>
            <a:br>
              <a:rPr lang="en-US" sz="2400">
                <a:solidFill>
                  <a:srgbClr val="40454D"/>
                </a:solidFill>
                <a:latin typeface="DM Sans" pitchFamily="2" charset="0"/>
                <a:cs typeface="DM Sans" pitchFamily="2" charset="0"/>
              </a:rPr>
            </a:br>
            <a:r>
              <a:rPr lang="en-US" sz="2400">
                <a:solidFill>
                  <a:srgbClr val="40454D"/>
                </a:solidFill>
                <a:latin typeface="DM Sans" pitchFamily="2" charset="0"/>
                <a:cs typeface="DM Sans" pitchFamily="2" charset="0"/>
              </a:rPr>
              <a:t>on a Q+A slide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19E5DF-CB23-45E8-A5C3-ACDDB8B70C60}"/>
              </a:ext>
            </a:extLst>
          </p:cNvPr>
          <p:cNvSpPr txBox="1"/>
          <p:nvPr userDrawn="1"/>
        </p:nvSpPr>
        <p:spPr>
          <a:xfrm>
            <a:off x="2518161" y="2555193"/>
            <a:ext cx="7155678" cy="110005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5000" b="1">
                <a:solidFill>
                  <a:schemeClr val="accent3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marL="12700" lvl="0" indent="-12700">
              <a:tabLst/>
            </a:pPr>
            <a:r>
              <a:rPr lang="en-CA" sz="7000" b="0">
                <a:latin typeface="DM Serif Display" pitchFamily="2" charset="0"/>
              </a:rPr>
              <a:t>Questions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434D51-6802-3384-BDD2-32DB4DF5A7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0"/>
            <a:ext cx="4383405" cy="21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54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raphic 1" hidden="1">
            <a:extLst>
              <a:ext uri="{FF2B5EF4-FFF2-40B4-BE49-F238E27FC236}">
                <a16:creationId xmlns:a16="http://schemas.microsoft.com/office/drawing/2014/main" id="{6EAD640D-ED1E-4ED7-9C0F-121366543B9C}"/>
              </a:ext>
            </a:extLst>
          </p:cNvPr>
          <p:cNvSpPr/>
          <p:nvPr userDrawn="1"/>
        </p:nvSpPr>
        <p:spPr>
          <a:xfrm>
            <a:off x="1245235" y="0"/>
            <a:ext cx="10946765" cy="6858000"/>
          </a:xfrm>
          <a:custGeom>
            <a:avLst/>
            <a:gdLst>
              <a:gd name="connsiteX0" fmla="*/ 8398510 w 10946765"/>
              <a:gd name="connsiteY0" fmla="*/ 0 h 6858000"/>
              <a:gd name="connsiteX1" fmla="*/ 7688581 w 10946765"/>
              <a:gd name="connsiteY1" fmla="*/ 1233170 h 6858000"/>
              <a:gd name="connsiteX2" fmla="*/ 6784975 w 10946765"/>
              <a:gd name="connsiteY2" fmla="*/ 2785110 h 6858000"/>
              <a:gd name="connsiteX3" fmla="*/ 4124960 w 10946765"/>
              <a:gd name="connsiteY3" fmla="*/ 5927725 h 6858000"/>
              <a:gd name="connsiteX4" fmla="*/ 0 w 10946765"/>
              <a:gd name="connsiteY4" fmla="*/ 6858000 h 6858000"/>
              <a:gd name="connsiteX5" fmla="*/ 6406515 w 10946765"/>
              <a:gd name="connsiteY5" fmla="*/ 6858000 h 6858000"/>
              <a:gd name="connsiteX6" fmla="*/ 8607425 w 10946765"/>
              <a:gd name="connsiteY6" fmla="*/ 3911600 h 6858000"/>
              <a:gd name="connsiteX7" fmla="*/ 9554210 w 10946765"/>
              <a:gd name="connsiteY7" fmla="*/ 2286635 h 6858000"/>
              <a:gd name="connsiteX8" fmla="*/ 10946765 w 10946765"/>
              <a:gd name="connsiteY8" fmla="*/ 0 h 6858000"/>
              <a:gd name="connsiteX9" fmla="*/ 8398510 w 10946765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46765" h="6858000">
                <a:moveTo>
                  <a:pt x="8398510" y="0"/>
                </a:moveTo>
                <a:cubicBezTo>
                  <a:pt x="8154035" y="408940"/>
                  <a:pt x="7920990" y="822325"/>
                  <a:pt x="7688581" y="1233170"/>
                </a:cubicBezTo>
                <a:cubicBezTo>
                  <a:pt x="7400290" y="1743710"/>
                  <a:pt x="7102475" y="2271395"/>
                  <a:pt x="6784975" y="2785110"/>
                </a:cubicBezTo>
                <a:cubicBezTo>
                  <a:pt x="5873115" y="4261485"/>
                  <a:pt x="5194300" y="5278120"/>
                  <a:pt x="4124960" y="5927725"/>
                </a:cubicBezTo>
                <a:cubicBezTo>
                  <a:pt x="3182620" y="6499860"/>
                  <a:pt x="1920240" y="6789420"/>
                  <a:pt x="0" y="6858000"/>
                </a:cubicBezTo>
                <a:lnTo>
                  <a:pt x="6406515" y="6858000"/>
                </a:lnTo>
                <a:cubicBezTo>
                  <a:pt x="7170420" y="6114415"/>
                  <a:pt x="7840345" y="5151755"/>
                  <a:pt x="8607425" y="3911600"/>
                </a:cubicBezTo>
                <a:cubicBezTo>
                  <a:pt x="8948420" y="3359785"/>
                  <a:pt x="9270365" y="2789555"/>
                  <a:pt x="9554210" y="2286635"/>
                </a:cubicBezTo>
                <a:cubicBezTo>
                  <a:pt x="10011410" y="1477645"/>
                  <a:pt x="10447655" y="704215"/>
                  <a:pt x="10946765" y="0"/>
                </a:cubicBezTo>
                <a:lnTo>
                  <a:pt x="8398510" y="0"/>
                </a:lnTo>
                <a:close/>
              </a:path>
            </a:pathLst>
          </a:custGeom>
          <a:gradFill>
            <a:gsLst>
              <a:gs pos="36000">
                <a:schemeClr val="accent1"/>
              </a:gs>
              <a:gs pos="85000">
                <a:schemeClr val="accent2"/>
              </a:gs>
            </a:gsLst>
            <a:lin ang="7800000" scaled="0"/>
          </a:gradFill>
          <a:ln w="634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01A67B-4E32-684F-9E0B-FF17ABE3CE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2715788"/>
            <a:ext cx="5813947" cy="20313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>
                <a:latin typeface="DM Sans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DM Sans" pitchFamily="2" charset="0"/>
              <a:buNone/>
              <a:tabLst/>
              <a:defRPr/>
            </a:pPr>
            <a:r>
              <a:rPr lang="en-US" sz="2400">
                <a:solidFill>
                  <a:srgbClr val="40454D"/>
                </a:solidFill>
                <a:latin typeface="DM Sans" pitchFamily="2" charset="0"/>
                <a:cs typeface="DM Sans" pitchFamily="2" charset="0"/>
              </a:rPr>
              <a:t>This is a subhead for added messaging </a:t>
            </a:r>
            <a:br>
              <a:rPr lang="en-US" sz="2400">
                <a:solidFill>
                  <a:srgbClr val="40454D"/>
                </a:solidFill>
                <a:latin typeface="DM Sans" pitchFamily="2" charset="0"/>
                <a:cs typeface="DM Sans" pitchFamily="2" charset="0"/>
              </a:rPr>
            </a:br>
            <a:r>
              <a:rPr lang="en-US" sz="2400">
                <a:solidFill>
                  <a:srgbClr val="40454D"/>
                </a:solidFill>
                <a:latin typeface="DM Sans" pitchFamily="2" charset="0"/>
                <a:cs typeface="DM Sans" pitchFamily="2" charset="0"/>
              </a:rPr>
              <a:t>on thank you slide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1920EA-E852-4C06-B873-E79667D723D5}"/>
              </a:ext>
            </a:extLst>
          </p:cNvPr>
          <p:cNvSpPr txBox="1"/>
          <p:nvPr userDrawn="1"/>
        </p:nvSpPr>
        <p:spPr>
          <a:xfrm>
            <a:off x="371475" y="513813"/>
            <a:ext cx="6120883" cy="203132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7000" b="1">
                <a:solidFill>
                  <a:schemeClr val="accent3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CA" b="0">
                <a:latin typeface="DM Serif Display" pitchFamily="2" charset="0"/>
              </a:rPr>
              <a:t>Thank you.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A69CA1C9-7CBE-1030-7216-511B7C7ADBB6}"/>
              </a:ext>
            </a:extLst>
          </p:cNvPr>
          <p:cNvSpPr/>
          <p:nvPr userDrawn="1"/>
        </p:nvSpPr>
        <p:spPr>
          <a:xfrm>
            <a:off x="4731828" y="44520"/>
            <a:ext cx="7460173" cy="6813481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2" name="Graphic 3">
            <a:extLst>
              <a:ext uri="{FF2B5EF4-FFF2-40B4-BE49-F238E27FC236}">
                <a16:creationId xmlns:a16="http://schemas.microsoft.com/office/drawing/2014/main" id="{A7CAA877-44D0-216A-2407-B1F6032474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166245" y="6145453"/>
            <a:ext cx="1654279" cy="515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40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ape, arrow&#10;&#10;Description automatically generated">
            <a:extLst>
              <a:ext uri="{FF2B5EF4-FFF2-40B4-BE49-F238E27FC236}">
                <a16:creationId xmlns:a16="http://schemas.microsoft.com/office/drawing/2014/main" id="{094CDBC5-516E-4BB2-91F8-B2642A034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8"/>
          <a:stretch/>
        </p:blipFill>
        <p:spPr>
          <a:xfrm>
            <a:off x="4159340" y="1"/>
            <a:ext cx="803266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001A67B-4E32-684F-9E0B-FF17ABE3CE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07821" y="3978054"/>
            <a:ext cx="5976358" cy="1655762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latin typeface="DM Sans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DM Sans" pitchFamily="2" charset="0"/>
              <a:buNone/>
              <a:tabLst/>
              <a:defRPr/>
            </a:pPr>
            <a:r>
              <a:rPr lang="en-US" sz="2400">
                <a:solidFill>
                  <a:srgbClr val="40454D"/>
                </a:solidFill>
                <a:latin typeface="DM Sans" pitchFamily="2" charset="0"/>
                <a:cs typeface="DM Sans" pitchFamily="2" charset="0"/>
              </a:rPr>
              <a:t>This is a subhead for added messaging </a:t>
            </a:r>
            <a:br>
              <a:rPr lang="en-US" sz="2400">
                <a:solidFill>
                  <a:srgbClr val="40454D"/>
                </a:solidFill>
                <a:latin typeface="DM Sans" pitchFamily="2" charset="0"/>
                <a:cs typeface="DM Sans" pitchFamily="2" charset="0"/>
              </a:rPr>
            </a:br>
            <a:r>
              <a:rPr lang="en-US" sz="2400">
                <a:solidFill>
                  <a:srgbClr val="40454D"/>
                </a:solidFill>
                <a:latin typeface="DM Sans" pitchFamily="2" charset="0"/>
                <a:cs typeface="DM Sans" pitchFamily="2" charset="0"/>
              </a:rPr>
              <a:t>on a breaker slide.</a:t>
            </a:r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F4B1F2-1100-B64F-8D09-67387977CB6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8161" y="1267645"/>
            <a:ext cx="7155678" cy="2387600"/>
          </a:xfrm>
        </p:spPr>
        <p:txBody>
          <a:bodyPr anchor="b"/>
          <a:lstStyle>
            <a:lvl1pPr algn="ctr">
              <a:defRPr sz="5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Breaker A title</a:t>
            </a:r>
          </a:p>
        </p:txBody>
      </p:sp>
    </p:spTree>
    <p:extLst>
      <p:ext uri="{BB962C8B-B14F-4D97-AF65-F5344CB8AC3E}">
        <p14:creationId xmlns:p14="http://schemas.microsoft.com/office/powerpoint/2010/main" val="144956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AEC5E-BD64-4FC9-B1DF-F16FA1F4FB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19101"/>
            <a:ext cx="8429625" cy="914400"/>
          </a:xfrm>
        </p:spPr>
        <p:txBody>
          <a:bodyPr/>
          <a:lstStyle>
            <a:lvl1pPr>
              <a:defRPr sz="5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Agenda or table of contents</a:t>
            </a:r>
          </a:p>
        </p:txBody>
      </p:sp>
      <p:pic>
        <p:nvPicPr>
          <p:cNvPr id="5" name="Picture 4" descr="Logo, icon&#10;&#10;Description automatically generated">
            <a:extLst>
              <a:ext uri="{FF2B5EF4-FFF2-40B4-BE49-F238E27FC236}">
                <a16:creationId xmlns:a16="http://schemas.microsoft.com/office/drawing/2014/main" id="{7EFE76D6-CB0C-3C47-92E4-99E496070E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8147824" y="2152315"/>
            <a:ext cx="4044175" cy="4705684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5A20AB-98C0-4430-AFEA-3164DD93886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523999"/>
            <a:ext cx="7804150" cy="4495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4590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6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slide w/ title+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ED6E0-0D16-4FD1-AB43-477BFE435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512763"/>
            <a:ext cx="11506200" cy="8207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B91899-C483-41E9-A801-62C73EF107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524000"/>
            <a:ext cx="115062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0129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slide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ED6E0-0D16-4FD1-AB43-477BFE435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512763"/>
            <a:ext cx="11506200" cy="8207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1655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3FEC2E2-4EB5-7224-213A-58632B936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00" y="0"/>
            <a:ext cx="12185100" cy="6858000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FF11969-6D74-3167-3139-FE146F4CF2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6003855"/>
            <a:ext cx="4929188" cy="19692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91F5C8DD-4A70-6DE2-C0A0-F778DC8188E5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E476227-0C84-CE67-C581-78F96E82A2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818671"/>
            <a:ext cx="5512490" cy="1631707"/>
          </a:xfrm>
          <a:prstGeom prst="rect">
            <a:avLst/>
          </a:prstGeom>
        </p:spPr>
        <p:txBody>
          <a:bodyPr/>
          <a:lstStyle>
            <a:lvl1pPr>
              <a:defRPr sz="6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title for a cover slid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1CD6BE7-987D-3BA6-9BA1-6848D6EBF2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45280"/>
            <a:ext cx="5512489" cy="433967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2" name="Graphic 3">
            <a:extLst>
              <a:ext uri="{FF2B5EF4-FFF2-40B4-BE49-F238E27FC236}">
                <a16:creationId xmlns:a16="http://schemas.microsoft.com/office/drawing/2014/main" id="{4E8B55ED-47A9-F237-8FFD-172E001E9DD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71470" y="377105"/>
            <a:ext cx="2466732" cy="76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22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517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with tit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AEC5E-BD64-4FC9-B1DF-F16FA1F4FB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512763"/>
            <a:ext cx="8429625" cy="820737"/>
          </a:xfrm>
        </p:spPr>
        <p:txBody>
          <a:bodyPr/>
          <a:lstStyle/>
          <a:p>
            <a:r>
              <a:rPr lang="en-CA"/>
              <a:t>This is a slide for bullet points.</a:t>
            </a:r>
          </a:p>
        </p:txBody>
      </p:sp>
      <p:pic>
        <p:nvPicPr>
          <p:cNvPr id="5" name="Picture 4" descr="Logo, icon&#10;&#10;Description automatically generated">
            <a:extLst>
              <a:ext uri="{FF2B5EF4-FFF2-40B4-BE49-F238E27FC236}">
                <a16:creationId xmlns:a16="http://schemas.microsoft.com/office/drawing/2014/main" id="{7EFE76D6-CB0C-3C47-92E4-99E496070E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8147824" y="2152315"/>
            <a:ext cx="4044175" cy="4705684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5A20AB-98C0-4430-AFEA-3164DD93886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524001"/>
            <a:ext cx="780415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09142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357A22-2864-842C-F806-3E64915C3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FF11969-6D74-3167-3139-FE146F4CF2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6003855"/>
            <a:ext cx="4929188" cy="19692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F8FC4E3D-A52C-1584-EF9A-3B47B71D2D3A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0ACFA60-4230-7429-1975-0A0ED40CEA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818671"/>
            <a:ext cx="5512490" cy="1631707"/>
          </a:xfrm>
          <a:prstGeom prst="rect">
            <a:avLst/>
          </a:prstGeom>
        </p:spPr>
        <p:txBody>
          <a:bodyPr/>
          <a:lstStyle>
            <a:lvl1pPr>
              <a:defRPr sz="6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title for a cover slid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8580A44-0690-9E2F-9197-FD8478B2E3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45280"/>
            <a:ext cx="5512489" cy="433967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2" name="Graphic 3">
            <a:extLst>
              <a:ext uri="{FF2B5EF4-FFF2-40B4-BE49-F238E27FC236}">
                <a16:creationId xmlns:a16="http://schemas.microsoft.com/office/drawing/2014/main" id="{7E5006D4-4B93-96F2-B028-979D0B392E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71470" y="377105"/>
            <a:ext cx="2466732" cy="76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087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810F03E9-7384-73FA-AF09-2D6E876339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3355"/>
            <a:ext cx="12191998" cy="685129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A2A6514-B4C3-8626-9A69-470E6A22FF88}"/>
              </a:ext>
            </a:extLst>
          </p:cNvPr>
          <p:cNvSpPr/>
          <p:nvPr userDrawn="1"/>
        </p:nvSpPr>
        <p:spPr>
          <a:xfrm>
            <a:off x="-1" y="0"/>
            <a:ext cx="12192000" cy="6854646"/>
          </a:xfrm>
          <a:prstGeom prst="rect">
            <a:avLst/>
          </a:prstGeom>
          <a:gradFill>
            <a:gsLst>
              <a:gs pos="36000">
                <a:schemeClr val="accent1">
                  <a:lumMod val="5000"/>
                  <a:lumOff val="95000"/>
                  <a:alpha val="0"/>
                </a:schemeClr>
              </a:gs>
              <a:gs pos="99000">
                <a:schemeClr val="tx1">
                  <a:lumMod val="85722"/>
                  <a:lumOff val="14278"/>
                  <a:alpha val="55708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FF11969-6D74-3167-3139-FE146F4CF2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6003855"/>
            <a:ext cx="4929188" cy="196920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302945A-355A-2718-BB85-FC33810D61EF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D89C2FA-E246-73F3-66CA-3362F59D6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797293"/>
            <a:ext cx="5512490" cy="1631707"/>
          </a:xfrm>
          <a:prstGeom prst="rect">
            <a:avLst/>
          </a:prstGeom>
        </p:spPr>
        <p:txBody>
          <a:bodyPr/>
          <a:lstStyle>
            <a:lvl1pPr>
              <a:defRPr sz="6000" b="0">
                <a:solidFill>
                  <a:schemeClr val="bg1"/>
                </a:solidFill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title for a cover slid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FC0EB0A-C47E-E949-E627-5AE6CEB013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23902"/>
            <a:ext cx="5512489" cy="433967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5" name="Graphic 3">
            <a:extLst>
              <a:ext uri="{FF2B5EF4-FFF2-40B4-BE49-F238E27FC236}">
                <a16:creationId xmlns:a16="http://schemas.microsoft.com/office/drawing/2014/main" id="{92AD6319-B494-7C87-C203-A8719CCE0B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71472" y="379412"/>
            <a:ext cx="2466730" cy="76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538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F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2AAF64D-014A-0B75-C80B-E6D03F4458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FF11969-6D74-3167-3139-FE146F4CF2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6003855"/>
            <a:ext cx="4929188" cy="19692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25247ECA-5702-EE65-B9F0-7A07769937AA}"/>
              </a:ext>
            </a:extLst>
          </p:cNvPr>
          <p:cNvSpPr/>
          <p:nvPr userDrawn="1"/>
        </p:nvSpPr>
        <p:spPr>
          <a:xfrm>
            <a:off x="6308037" y="1484094"/>
            <a:ext cx="5883964" cy="5373907"/>
          </a:xfrm>
          <a:custGeom>
            <a:avLst/>
            <a:gdLst>
              <a:gd name="connsiteX0" fmla="*/ 7460173 w 7460173"/>
              <a:gd name="connsiteY0" fmla="*/ 0 h 6813481"/>
              <a:gd name="connsiteX1" fmla="*/ 7460173 w 7460173"/>
              <a:gd name="connsiteY1" fmla="*/ 1472271 h 6813481"/>
              <a:gd name="connsiteX2" fmla="*/ 7402301 w 7460173"/>
              <a:gd name="connsiteY2" fmla="*/ 1508238 h 6813481"/>
              <a:gd name="connsiteX3" fmla="*/ 7332169 w 7460173"/>
              <a:gd name="connsiteY3" fmla="*/ 1553690 h 6813481"/>
              <a:gd name="connsiteX4" fmla="*/ 7263465 w 7460173"/>
              <a:gd name="connsiteY4" fmla="*/ 1600080 h 6813481"/>
              <a:gd name="connsiteX5" fmla="*/ 7196149 w 7460173"/>
              <a:gd name="connsiteY5" fmla="*/ 1647393 h 6813481"/>
              <a:gd name="connsiteX6" fmla="*/ 7130182 w 7460173"/>
              <a:gd name="connsiteY6" fmla="*/ 1695615 h 6813481"/>
              <a:gd name="connsiteX7" fmla="*/ 7065525 w 7460173"/>
              <a:gd name="connsiteY7" fmla="*/ 1744731 h 6813481"/>
              <a:gd name="connsiteX8" fmla="*/ 7002143 w 7460173"/>
              <a:gd name="connsiteY8" fmla="*/ 1794727 h 6813481"/>
              <a:gd name="connsiteX9" fmla="*/ 6939995 w 7460173"/>
              <a:gd name="connsiteY9" fmla="*/ 1845588 h 6813481"/>
              <a:gd name="connsiteX10" fmla="*/ 6879041 w 7460173"/>
              <a:gd name="connsiteY10" fmla="*/ 1897297 h 6813481"/>
              <a:gd name="connsiteX11" fmla="*/ 6819244 w 7460173"/>
              <a:gd name="connsiteY11" fmla="*/ 1949842 h 6813481"/>
              <a:gd name="connsiteX12" fmla="*/ 6760567 w 7460173"/>
              <a:gd name="connsiteY12" fmla="*/ 2003206 h 6813481"/>
              <a:gd name="connsiteX13" fmla="*/ 6702969 w 7460173"/>
              <a:gd name="connsiteY13" fmla="*/ 2057377 h 6813481"/>
              <a:gd name="connsiteX14" fmla="*/ 6646412 w 7460173"/>
              <a:gd name="connsiteY14" fmla="*/ 2112339 h 6813481"/>
              <a:gd name="connsiteX15" fmla="*/ 6590859 w 7460173"/>
              <a:gd name="connsiteY15" fmla="*/ 2168077 h 6813481"/>
              <a:gd name="connsiteX16" fmla="*/ 6536272 w 7460173"/>
              <a:gd name="connsiteY16" fmla="*/ 2224574 h 6813481"/>
              <a:gd name="connsiteX17" fmla="*/ 6482608 w 7460173"/>
              <a:gd name="connsiteY17" fmla="*/ 2281820 h 6813481"/>
              <a:gd name="connsiteX18" fmla="*/ 6429833 w 7460173"/>
              <a:gd name="connsiteY18" fmla="*/ 2339795 h 6813481"/>
              <a:gd name="connsiteX19" fmla="*/ 6377906 w 7460173"/>
              <a:gd name="connsiteY19" fmla="*/ 2398489 h 6813481"/>
              <a:gd name="connsiteX20" fmla="*/ 6326789 w 7460173"/>
              <a:gd name="connsiteY20" fmla="*/ 2457885 h 6813481"/>
              <a:gd name="connsiteX21" fmla="*/ 6276447 w 7460173"/>
              <a:gd name="connsiteY21" fmla="*/ 2517967 h 6813481"/>
              <a:gd name="connsiteX22" fmla="*/ 6226834 w 7460173"/>
              <a:gd name="connsiteY22" fmla="*/ 2578722 h 6813481"/>
              <a:gd name="connsiteX23" fmla="*/ 6177918 w 7460173"/>
              <a:gd name="connsiteY23" fmla="*/ 2640135 h 6813481"/>
              <a:gd name="connsiteX24" fmla="*/ 6129659 w 7460173"/>
              <a:gd name="connsiteY24" fmla="*/ 2702190 h 6813481"/>
              <a:gd name="connsiteX25" fmla="*/ 6082016 w 7460173"/>
              <a:gd name="connsiteY25" fmla="*/ 2764874 h 6813481"/>
              <a:gd name="connsiteX26" fmla="*/ 6034953 w 7460173"/>
              <a:gd name="connsiteY26" fmla="*/ 2828173 h 6813481"/>
              <a:gd name="connsiteX27" fmla="*/ 5988432 w 7460173"/>
              <a:gd name="connsiteY27" fmla="*/ 2892069 h 6813481"/>
              <a:gd name="connsiteX28" fmla="*/ 5942413 w 7460173"/>
              <a:gd name="connsiteY28" fmla="*/ 2956551 h 6813481"/>
              <a:gd name="connsiteX29" fmla="*/ 5896855 w 7460173"/>
              <a:gd name="connsiteY29" fmla="*/ 3021598 h 6813481"/>
              <a:gd name="connsiteX30" fmla="*/ 5851725 w 7460173"/>
              <a:gd name="connsiteY30" fmla="*/ 3087204 h 6813481"/>
              <a:gd name="connsiteX31" fmla="*/ 5806979 w 7460173"/>
              <a:gd name="connsiteY31" fmla="*/ 3153346 h 6813481"/>
              <a:gd name="connsiteX32" fmla="*/ 5762583 w 7460173"/>
              <a:gd name="connsiteY32" fmla="*/ 3220016 h 6813481"/>
              <a:gd name="connsiteX33" fmla="*/ 5718497 w 7460173"/>
              <a:gd name="connsiteY33" fmla="*/ 3287194 h 6813481"/>
              <a:gd name="connsiteX34" fmla="*/ 5674681 w 7460173"/>
              <a:gd name="connsiteY34" fmla="*/ 3354868 h 6813481"/>
              <a:gd name="connsiteX35" fmla="*/ 5631097 w 7460173"/>
              <a:gd name="connsiteY35" fmla="*/ 3423021 h 6813481"/>
              <a:gd name="connsiteX36" fmla="*/ 5544475 w 7460173"/>
              <a:gd name="connsiteY36" fmla="*/ 3560714 h 6813481"/>
              <a:gd name="connsiteX37" fmla="*/ 5458319 w 7460173"/>
              <a:gd name="connsiteY37" fmla="*/ 3700149 h 6813481"/>
              <a:gd name="connsiteX38" fmla="*/ 5372323 w 7460173"/>
              <a:gd name="connsiteY38" fmla="*/ 3841214 h 6813481"/>
              <a:gd name="connsiteX39" fmla="*/ 4979718 w 7460173"/>
              <a:gd name="connsiteY39" fmla="*/ 4491983 h 6813481"/>
              <a:gd name="connsiteX40" fmla="*/ 4886637 w 7460173"/>
              <a:gd name="connsiteY40" fmla="*/ 4643787 h 6813481"/>
              <a:gd name="connsiteX41" fmla="*/ 4791007 w 7460173"/>
              <a:gd name="connsiteY41" fmla="*/ 4797393 h 6813481"/>
              <a:gd name="connsiteX42" fmla="*/ 4693085 w 7460173"/>
              <a:gd name="connsiteY42" fmla="*/ 4951670 h 6813481"/>
              <a:gd name="connsiteX43" fmla="*/ 4643345 w 7460173"/>
              <a:gd name="connsiteY43" fmla="*/ 5028708 h 6813481"/>
              <a:gd name="connsiteX44" fmla="*/ 4593128 w 7460173"/>
              <a:gd name="connsiteY44" fmla="*/ 5105493 h 6813481"/>
              <a:gd name="connsiteX45" fmla="*/ 4474728 w 7460173"/>
              <a:gd name="connsiteY45" fmla="*/ 5283830 h 6813481"/>
              <a:gd name="connsiteX46" fmla="*/ 4416327 w 7460173"/>
              <a:gd name="connsiteY46" fmla="*/ 5370560 h 6813481"/>
              <a:gd name="connsiteX47" fmla="*/ 4358390 w 7460173"/>
              <a:gd name="connsiteY47" fmla="*/ 5455683 h 6813481"/>
              <a:gd name="connsiteX48" fmla="*/ 4300871 w 7460173"/>
              <a:gd name="connsiteY48" fmla="*/ 5539212 h 6813481"/>
              <a:gd name="connsiteX49" fmla="*/ 4243717 w 7460173"/>
              <a:gd name="connsiteY49" fmla="*/ 5621163 h 6813481"/>
              <a:gd name="connsiteX50" fmla="*/ 4186885 w 7460173"/>
              <a:gd name="connsiteY50" fmla="*/ 5701549 h 6813481"/>
              <a:gd name="connsiteX51" fmla="*/ 4130321 w 7460173"/>
              <a:gd name="connsiteY51" fmla="*/ 5780385 h 6813481"/>
              <a:gd name="connsiteX52" fmla="*/ 4073979 w 7460173"/>
              <a:gd name="connsiteY52" fmla="*/ 5857683 h 6813481"/>
              <a:gd name="connsiteX53" fmla="*/ 4017807 w 7460173"/>
              <a:gd name="connsiteY53" fmla="*/ 5933459 h 6813481"/>
              <a:gd name="connsiteX54" fmla="*/ 3961759 w 7460173"/>
              <a:gd name="connsiteY54" fmla="*/ 6007725 h 6813481"/>
              <a:gd name="connsiteX55" fmla="*/ 3905784 w 7460173"/>
              <a:gd name="connsiteY55" fmla="*/ 6080498 h 6813481"/>
              <a:gd name="connsiteX56" fmla="*/ 3849834 w 7460173"/>
              <a:gd name="connsiteY56" fmla="*/ 6151791 h 6813481"/>
              <a:gd name="connsiteX57" fmla="*/ 3793857 w 7460173"/>
              <a:gd name="connsiteY57" fmla="*/ 6221619 h 6813481"/>
              <a:gd name="connsiteX58" fmla="*/ 3737809 w 7460173"/>
              <a:gd name="connsiteY58" fmla="*/ 6289994 h 6813481"/>
              <a:gd name="connsiteX59" fmla="*/ 3681638 w 7460173"/>
              <a:gd name="connsiteY59" fmla="*/ 6356932 h 6813481"/>
              <a:gd name="connsiteX60" fmla="*/ 3625293 w 7460173"/>
              <a:gd name="connsiteY60" fmla="*/ 6422445 h 6813481"/>
              <a:gd name="connsiteX61" fmla="*/ 3568729 w 7460173"/>
              <a:gd name="connsiteY61" fmla="*/ 6486550 h 6813481"/>
              <a:gd name="connsiteX62" fmla="*/ 3511896 w 7460173"/>
              <a:gd name="connsiteY62" fmla="*/ 6549259 h 6813481"/>
              <a:gd name="connsiteX63" fmla="*/ 3454743 w 7460173"/>
              <a:gd name="connsiteY63" fmla="*/ 6610586 h 6813481"/>
              <a:gd name="connsiteX64" fmla="*/ 3397220 w 7460173"/>
              <a:gd name="connsiteY64" fmla="*/ 6670548 h 6813481"/>
              <a:gd name="connsiteX65" fmla="*/ 3339281 w 7460173"/>
              <a:gd name="connsiteY65" fmla="*/ 6729154 h 6813481"/>
              <a:gd name="connsiteX66" fmla="*/ 3280877 w 7460173"/>
              <a:gd name="connsiteY66" fmla="*/ 6786423 h 6813481"/>
              <a:gd name="connsiteX67" fmla="*/ 3252381 w 7460173"/>
              <a:gd name="connsiteY67" fmla="*/ 6813481 h 6813481"/>
              <a:gd name="connsiteX68" fmla="*/ 0 w 7460173"/>
              <a:gd name="connsiteY68" fmla="*/ 6813481 h 6813481"/>
              <a:gd name="connsiteX69" fmla="*/ 74207 w 7460173"/>
              <a:gd name="connsiteY69" fmla="*/ 6804690 h 6813481"/>
              <a:gd name="connsiteX70" fmla="*/ 164513 w 7460173"/>
              <a:gd name="connsiteY70" fmla="*/ 6792952 h 6813481"/>
              <a:gd name="connsiteX71" fmla="*/ 252866 w 7460173"/>
              <a:gd name="connsiteY71" fmla="*/ 6780404 h 6813481"/>
              <a:gd name="connsiteX72" fmla="*/ 339301 w 7460173"/>
              <a:gd name="connsiteY72" fmla="*/ 6767041 h 6813481"/>
              <a:gd name="connsiteX73" fmla="*/ 423857 w 7460173"/>
              <a:gd name="connsiteY73" fmla="*/ 6752853 h 6813481"/>
              <a:gd name="connsiteX74" fmla="*/ 506568 w 7460173"/>
              <a:gd name="connsiteY74" fmla="*/ 6737837 h 6813481"/>
              <a:gd name="connsiteX75" fmla="*/ 587474 w 7460173"/>
              <a:gd name="connsiteY75" fmla="*/ 6721985 h 6813481"/>
              <a:gd name="connsiteX76" fmla="*/ 666608 w 7460173"/>
              <a:gd name="connsiteY76" fmla="*/ 6705291 h 6813481"/>
              <a:gd name="connsiteX77" fmla="*/ 744010 w 7460173"/>
              <a:gd name="connsiteY77" fmla="*/ 6687749 h 6813481"/>
              <a:gd name="connsiteX78" fmla="*/ 819716 w 7460173"/>
              <a:gd name="connsiteY78" fmla="*/ 6669352 h 6813481"/>
              <a:gd name="connsiteX79" fmla="*/ 893760 w 7460173"/>
              <a:gd name="connsiteY79" fmla="*/ 6650094 h 6813481"/>
              <a:gd name="connsiteX80" fmla="*/ 966183 w 7460173"/>
              <a:gd name="connsiteY80" fmla="*/ 6629969 h 6813481"/>
              <a:gd name="connsiteX81" fmla="*/ 1037016 w 7460173"/>
              <a:gd name="connsiteY81" fmla="*/ 6608968 h 6813481"/>
              <a:gd name="connsiteX82" fmla="*/ 1106299 w 7460173"/>
              <a:gd name="connsiteY82" fmla="*/ 6587089 h 6813481"/>
              <a:gd name="connsiteX83" fmla="*/ 1174071 w 7460173"/>
              <a:gd name="connsiteY83" fmla="*/ 6564321 h 6813481"/>
              <a:gd name="connsiteX84" fmla="*/ 1240365 w 7460173"/>
              <a:gd name="connsiteY84" fmla="*/ 6540661 h 6813481"/>
              <a:gd name="connsiteX85" fmla="*/ 1305220 w 7460173"/>
              <a:gd name="connsiteY85" fmla="*/ 6516101 h 6813481"/>
              <a:gd name="connsiteX86" fmla="*/ 1368669 w 7460173"/>
              <a:gd name="connsiteY86" fmla="*/ 6490636 h 6813481"/>
              <a:gd name="connsiteX87" fmla="*/ 1491506 w 7460173"/>
              <a:gd name="connsiteY87" fmla="*/ 6436962 h 6813481"/>
              <a:gd name="connsiteX88" fmla="*/ 1609172 w 7460173"/>
              <a:gd name="connsiteY88" fmla="*/ 6379586 h 6813481"/>
              <a:gd name="connsiteX89" fmla="*/ 1721954 w 7460173"/>
              <a:gd name="connsiteY89" fmla="*/ 6318459 h 6813481"/>
              <a:gd name="connsiteX90" fmla="*/ 1791940 w 7460173"/>
              <a:gd name="connsiteY90" fmla="*/ 6277227 h 6813481"/>
              <a:gd name="connsiteX91" fmla="*/ 1860237 w 7460173"/>
              <a:gd name="connsiteY91" fmla="*/ 6234407 h 6813481"/>
              <a:gd name="connsiteX92" fmla="*/ 1926946 w 7460173"/>
              <a:gd name="connsiteY92" fmla="*/ 6189988 h 6813481"/>
              <a:gd name="connsiteX93" fmla="*/ 1992164 w 7460173"/>
              <a:gd name="connsiteY93" fmla="*/ 6143954 h 6813481"/>
              <a:gd name="connsiteX94" fmla="*/ 2055988 w 7460173"/>
              <a:gd name="connsiteY94" fmla="*/ 6096292 h 6813481"/>
              <a:gd name="connsiteX95" fmla="*/ 2118520 w 7460173"/>
              <a:gd name="connsiteY95" fmla="*/ 6046986 h 6813481"/>
              <a:gd name="connsiteX96" fmla="*/ 2179856 w 7460173"/>
              <a:gd name="connsiteY96" fmla="*/ 5996026 h 6813481"/>
              <a:gd name="connsiteX97" fmla="*/ 2240097 w 7460173"/>
              <a:gd name="connsiteY97" fmla="*/ 5943396 h 6813481"/>
              <a:gd name="connsiteX98" fmla="*/ 2299339 w 7460173"/>
              <a:gd name="connsiteY98" fmla="*/ 5889082 h 6813481"/>
              <a:gd name="connsiteX99" fmla="*/ 2357680 w 7460173"/>
              <a:gd name="connsiteY99" fmla="*/ 5833070 h 6813481"/>
              <a:gd name="connsiteX100" fmla="*/ 2415221 w 7460173"/>
              <a:gd name="connsiteY100" fmla="*/ 5775347 h 6813481"/>
              <a:gd name="connsiteX101" fmla="*/ 2472057 w 7460173"/>
              <a:gd name="connsiteY101" fmla="*/ 5715899 h 6813481"/>
              <a:gd name="connsiteX102" fmla="*/ 2528292 w 7460173"/>
              <a:gd name="connsiteY102" fmla="*/ 5654712 h 6813481"/>
              <a:gd name="connsiteX103" fmla="*/ 2584019 w 7460173"/>
              <a:gd name="connsiteY103" fmla="*/ 5591772 h 6813481"/>
              <a:gd name="connsiteX104" fmla="*/ 2639343 w 7460173"/>
              <a:gd name="connsiteY104" fmla="*/ 5527064 h 6813481"/>
              <a:gd name="connsiteX105" fmla="*/ 2694354 w 7460173"/>
              <a:gd name="connsiteY105" fmla="*/ 5460576 h 6813481"/>
              <a:gd name="connsiteX106" fmla="*/ 2749158 w 7460173"/>
              <a:gd name="connsiteY106" fmla="*/ 5392294 h 6813481"/>
              <a:gd name="connsiteX107" fmla="*/ 2803849 w 7460173"/>
              <a:gd name="connsiteY107" fmla="*/ 5322202 h 6813481"/>
              <a:gd name="connsiteX108" fmla="*/ 2858528 w 7460173"/>
              <a:gd name="connsiteY108" fmla="*/ 5250288 h 6813481"/>
              <a:gd name="connsiteX109" fmla="*/ 2913293 w 7460173"/>
              <a:gd name="connsiteY109" fmla="*/ 5176539 h 6813481"/>
              <a:gd name="connsiteX110" fmla="*/ 2968243 w 7460173"/>
              <a:gd name="connsiteY110" fmla="*/ 5100939 h 6813481"/>
              <a:gd name="connsiteX111" fmla="*/ 3023476 w 7460173"/>
              <a:gd name="connsiteY111" fmla="*/ 5023475 h 6813481"/>
              <a:gd name="connsiteX112" fmla="*/ 3079089 w 7460173"/>
              <a:gd name="connsiteY112" fmla="*/ 4944134 h 6813481"/>
              <a:gd name="connsiteX113" fmla="*/ 3135182 w 7460173"/>
              <a:gd name="connsiteY113" fmla="*/ 4862902 h 6813481"/>
              <a:gd name="connsiteX114" fmla="*/ 3191854 w 7460173"/>
              <a:gd name="connsiteY114" fmla="*/ 4779764 h 6813481"/>
              <a:gd name="connsiteX115" fmla="*/ 3307328 w 7460173"/>
              <a:gd name="connsiteY115" fmla="*/ 4607714 h 6813481"/>
              <a:gd name="connsiteX116" fmla="*/ 3426298 w 7460173"/>
              <a:gd name="connsiteY116" fmla="*/ 4427878 h 6813481"/>
              <a:gd name="connsiteX117" fmla="*/ 3476885 w 7460173"/>
              <a:gd name="connsiteY117" fmla="*/ 4350438 h 6813481"/>
              <a:gd name="connsiteX118" fmla="*/ 3526967 w 7460173"/>
              <a:gd name="connsiteY118" fmla="*/ 4272714 h 6813481"/>
              <a:gd name="connsiteX119" fmla="*/ 3576567 w 7460173"/>
              <a:gd name="connsiteY119" fmla="*/ 4194772 h 6813481"/>
              <a:gd name="connsiteX120" fmla="*/ 3625708 w 7460173"/>
              <a:gd name="connsiteY120" fmla="*/ 4116677 h 6813481"/>
              <a:gd name="connsiteX121" fmla="*/ 3722697 w 7460173"/>
              <a:gd name="connsiteY121" fmla="*/ 3960287 h 6813481"/>
              <a:gd name="connsiteX122" fmla="*/ 3818115 w 7460173"/>
              <a:gd name="connsiteY122" fmla="*/ 3804074 h 6813481"/>
              <a:gd name="connsiteX123" fmla="*/ 4197885 w 7460173"/>
              <a:gd name="connsiteY123" fmla="*/ 3174408 h 6813481"/>
              <a:gd name="connsiteX124" fmla="*/ 4315305 w 7460173"/>
              <a:gd name="connsiteY124" fmla="*/ 2982607 h 6813481"/>
              <a:gd name="connsiteX125" fmla="*/ 4394671 w 7460173"/>
              <a:gd name="connsiteY125" fmla="*/ 2855040 h 6813481"/>
              <a:gd name="connsiteX126" fmla="*/ 4475128 w 7460173"/>
              <a:gd name="connsiteY126" fmla="*/ 2727855 h 6813481"/>
              <a:gd name="connsiteX127" fmla="*/ 4556872 w 7460173"/>
              <a:gd name="connsiteY127" fmla="*/ 2601169 h 6813481"/>
              <a:gd name="connsiteX128" fmla="*/ 4640091 w 7460173"/>
              <a:gd name="connsiteY128" fmla="*/ 2475105 h 6813481"/>
              <a:gd name="connsiteX129" fmla="*/ 4682313 w 7460173"/>
              <a:gd name="connsiteY129" fmla="*/ 2412345 h 6813481"/>
              <a:gd name="connsiteX130" fmla="*/ 4724977 w 7460173"/>
              <a:gd name="connsiteY130" fmla="*/ 2349785 h 6813481"/>
              <a:gd name="connsiteX131" fmla="*/ 4768105 w 7460173"/>
              <a:gd name="connsiteY131" fmla="*/ 2287441 h 6813481"/>
              <a:gd name="connsiteX132" fmla="*/ 4811725 w 7460173"/>
              <a:gd name="connsiteY132" fmla="*/ 2225328 h 6813481"/>
              <a:gd name="connsiteX133" fmla="*/ 4855855 w 7460173"/>
              <a:gd name="connsiteY133" fmla="*/ 2163462 h 6813481"/>
              <a:gd name="connsiteX134" fmla="*/ 4900523 w 7460173"/>
              <a:gd name="connsiteY134" fmla="*/ 2101856 h 6813481"/>
              <a:gd name="connsiteX135" fmla="*/ 4945752 w 7460173"/>
              <a:gd name="connsiteY135" fmla="*/ 2040526 h 6813481"/>
              <a:gd name="connsiteX136" fmla="*/ 4991565 w 7460173"/>
              <a:gd name="connsiteY136" fmla="*/ 1979488 h 6813481"/>
              <a:gd name="connsiteX137" fmla="*/ 5037986 w 7460173"/>
              <a:gd name="connsiteY137" fmla="*/ 1918757 h 6813481"/>
              <a:gd name="connsiteX138" fmla="*/ 5085041 w 7460173"/>
              <a:gd name="connsiteY138" fmla="*/ 1858346 h 6813481"/>
              <a:gd name="connsiteX139" fmla="*/ 5132752 w 7460173"/>
              <a:gd name="connsiteY139" fmla="*/ 1798272 h 6813481"/>
              <a:gd name="connsiteX140" fmla="*/ 5181144 w 7460173"/>
              <a:gd name="connsiteY140" fmla="*/ 1738551 h 6813481"/>
              <a:gd name="connsiteX141" fmla="*/ 5230241 w 7460173"/>
              <a:gd name="connsiteY141" fmla="*/ 1679196 h 6813481"/>
              <a:gd name="connsiteX142" fmla="*/ 5280067 w 7460173"/>
              <a:gd name="connsiteY142" fmla="*/ 1620223 h 6813481"/>
              <a:gd name="connsiteX143" fmla="*/ 5330643 w 7460173"/>
              <a:gd name="connsiteY143" fmla="*/ 1561646 h 6813481"/>
              <a:gd name="connsiteX144" fmla="*/ 5381998 w 7460173"/>
              <a:gd name="connsiteY144" fmla="*/ 1503482 h 6813481"/>
              <a:gd name="connsiteX145" fmla="*/ 5434153 w 7460173"/>
              <a:gd name="connsiteY145" fmla="*/ 1445745 h 6813481"/>
              <a:gd name="connsiteX146" fmla="*/ 5487133 w 7460173"/>
              <a:gd name="connsiteY146" fmla="*/ 1388450 h 6813481"/>
              <a:gd name="connsiteX147" fmla="*/ 5540960 w 7460173"/>
              <a:gd name="connsiteY147" fmla="*/ 1331612 h 6813481"/>
              <a:gd name="connsiteX148" fmla="*/ 5595660 w 7460173"/>
              <a:gd name="connsiteY148" fmla="*/ 1275247 h 6813481"/>
              <a:gd name="connsiteX149" fmla="*/ 5651256 w 7460173"/>
              <a:gd name="connsiteY149" fmla="*/ 1219368 h 6813481"/>
              <a:gd name="connsiteX150" fmla="*/ 5707773 w 7460173"/>
              <a:gd name="connsiteY150" fmla="*/ 1163993 h 6813481"/>
              <a:gd name="connsiteX151" fmla="*/ 5765234 w 7460173"/>
              <a:gd name="connsiteY151" fmla="*/ 1109137 h 6813481"/>
              <a:gd name="connsiteX152" fmla="*/ 5823662 w 7460173"/>
              <a:gd name="connsiteY152" fmla="*/ 1054812 h 6813481"/>
              <a:gd name="connsiteX153" fmla="*/ 5883083 w 7460173"/>
              <a:gd name="connsiteY153" fmla="*/ 1001034 h 6813481"/>
              <a:gd name="connsiteX154" fmla="*/ 5943522 w 7460173"/>
              <a:gd name="connsiteY154" fmla="*/ 947821 h 6813481"/>
              <a:gd name="connsiteX155" fmla="*/ 6004999 w 7460173"/>
              <a:gd name="connsiteY155" fmla="*/ 895186 h 6813481"/>
              <a:gd name="connsiteX156" fmla="*/ 6067541 w 7460173"/>
              <a:gd name="connsiteY156" fmla="*/ 843142 h 6813481"/>
              <a:gd name="connsiteX157" fmla="*/ 6131171 w 7460173"/>
              <a:gd name="connsiteY157" fmla="*/ 791708 h 6813481"/>
              <a:gd name="connsiteX158" fmla="*/ 6195913 w 7460173"/>
              <a:gd name="connsiteY158" fmla="*/ 740896 h 6813481"/>
              <a:gd name="connsiteX159" fmla="*/ 6261791 w 7460173"/>
              <a:gd name="connsiteY159" fmla="*/ 690723 h 6813481"/>
              <a:gd name="connsiteX160" fmla="*/ 6328829 w 7460173"/>
              <a:gd name="connsiteY160" fmla="*/ 641204 h 6813481"/>
              <a:gd name="connsiteX161" fmla="*/ 6397050 w 7460173"/>
              <a:gd name="connsiteY161" fmla="*/ 592354 h 6813481"/>
              <a:gd name="connsiteX162" fmla="*/ 6466481 w 7460173"/>
              <a:gd name="connsiteY162" fmla="*/ 544187 h 6813481"/>
              <a:gd name="connsiteX163" fmla="*/ 6537143 w 7460173"/>
              <a:gd name="connsiteY163" fmla="*/ 496719 h 6813481"/>
              <a:gd name="connsiteX164" fmla="*/ 6609061 w 7460173"/>
              <a:gd name="connsiteY164" fmla="*/ 449965 h 6813481"/>
              <a:gd name="connsiteX165" fmla="*/ 6682257 w 7460173"/>
              <a:gd name="connsiteY165" fmla="*/ 403940 h 6813481"/>
              <a:gd name="connsiteX166" fmla="*/ 6756759 w 7460173"/>
              <a:gd name="connsiteY166" fmla="*/ 358658 h 6813481"/>
              <a:gd name="connsiteX167" fmla="*/ 6832588 w 7460173"/>
              <a:gd name="connsiteY167" fmla="*/ 314136 h 6813481"/>
              <a:gd name="connsiteX168" fmla="*/ 6909768 w 7460173"/>
              <a:gd name="connsiteY168" fmla="*/ 270388 h 6813481"/>
              <a:gd name="connsiteX169" fmla="*/ 6988325 w 7460173"/>
              <a:gd name="connsiteY169" fmla="*/ 227428 h 6813481"/>
              <a:gd name="connsiteX170" fmla="*/ 7068281 w 7460173"/>
              <a:gd name="connsiteY170" fmla="*/ 185274 h 6813481"/>
              <a:gd name="connsiteX171" fmla="*/ 7149661 w 7460173"/>
              <a:gd name="connsiteY171" fmla="*/ 143939 h 6813481"/>
              <a:gd name="connsiteX172" fmla="*/ 7232489 w 7460173"/>
              <a:gd name="connsiteY172" fmla="*/ 103438 h 6813481"/>
              <a:gd name="connsiteX173" fmla="*/ 7316788 w 7460173"/>
              <a:gd name="connsiteY173" fmla="*/ 63788 h 6813481"/>
              <a:gd name="connsiteX174" fmla="*/ 7402582 w 7460173"/>
              <a:gd name="connsiteY174" fmla="*/ 25003 h 681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7460173" h="6813481">
                <a:moveTo>
                  <a:pt x="7460173" y="0"/>
                </a:moveTo>
                <a:lnTo>
                  <a:pt x="7460173" y="1472271"/>
                </a:lnTo>
                <a:lnTo>
                  <a:pt x="7402301" y="1508238"/>
                </a:lnTo>
                <a:lnTo>
                  <a:pt x="7332169" y="1553690"/>
                </a:lnTo>
                <a:lnTo>
                  <a:pt x="7263465" y="1600080"/>
                </a:lnTo>
                <a:lnTo>
                  <a:pt x="7196149" y="1647393"/>
                </a:lnTo>
                <a:lnTo>
                  <a:pt x="7130182" y="1695615"/>
                </a:lnTo>
                <a:lnTo>
                  <a:pt x="7065525" y="1744731"/>
                </a:lnTo>
                <a:lnTo>
                  <a:pt x="7002143" y="1794727"/>
                </a:lnTo>
                <a:lnTo>
                  <a:pt x="6939995" y="1845588"/>
                </a:lnTo>
                <a:lnTo>
                  <a:pt x="6879041" y="1897297"/>
                </a:lnTo>
                <a:lnTo>
                  <a:pt x="6819244" y="1949842"/>
                </a:lnTo>
                <a:lnTo>
                  <a:pt x="6760567" y="2003206"/>
                </a:lnTo>
                <a:lnTo>
                  <a:pt x="6702969" y="2057377"/>
                </a:lnTo>
                <a:lnTo>
                  <a:pt x="6646412" y="2112339"/>
                </a:lnTo>
                <a:lnTo>
                  <a:pt x="6590859" y="2168077"/>
                </a:lnTo>
                <a:lnTo>
                  <a:pt x="6536272" y="2224574"/>
                </a:lnTo>
                <a:lnTo>
                  <a:pt x="6482608" y="2281820"/>
                </a:lnTo>
                <a:lnTo>
                  <a:pt x="6429833" y="2339795"/>
                </a:lnTo>
                <a:lnTo>
                  <a:pt x="6377906" y="2398489"/>
                </a:lnTo>
                <a:lnTo>
                  <a:pt x="6326789" y="2457885"/>
                </a:lnTo>
                <a:lnTo>
                  <a:pt x="6276447" y="2517967"/>
                </a:lnTo>
                <a:lnTo>
                  <a:pt x="6226834" y="2578722"/>
                </a:lnTo>
                <a:lnTo>
                  <a:pt x="6177918" y="2640135"/>
                </a:lnTo>
                <a:lnTo>
                  <a:pt x="6129659" y="2702190"/>
                </a:lnTo>
                <a:lnTo>
                  <a:pt x="6082016" y="2764874"/>
                </a:lnTo>
                <a:lnTo>
                  <a:pt x="6034953" y="2828173"/>
                </a:lnTo>
                <a:lnTo>
                  <a:pt x="5988432" y="2892069"/>
                </a:lnTo>
                <a:lnTo>
                  <a:pt x="5942413" y="2956551"/>
                </a:lnTo>
                <a:lnTo>
                  <a:pt x="5896855" y="3021598"/>
                </a:lnTo>
                <a:lnTo>
                  <a:pt x="5851725" y="3087204"/>
                </a:lnTo>
                <a:lnTo>
                  <a:pt x="5806979" y="3153346"/>
                </a:lnTo>
                <a:lnTo>
                  <a:pt x="5762583" y="3220016"/>
                </a:lnTo>
                <a:lnTo>
                  <a:pt x="5718497" y="3287194"/>
                </a:lnTo>
                <a:lnTo>
                  <a:pt x="5674681" y="3354868"/>
                </a:lnTo>
                <a:lnTo>
                  <a:pt x="5631097" y="3423021"/>
                </a:lnTo>
                <a:lnTo>
                  <a:pt x="5544475" y="3560714"/>
                </a:lnTo>
                <a:lnTo>
                  <a:pt x="5458319" y="3700149"/>
                </a:lnTo>
                <a:lnTo>
                  <a:pt x="5372323" y="3841214"/>
                </a:lnTo>
                <a:lnTo>
                  <a:pt x="4979718" y="4491983"/>
                </a:lnTo>
                <a:lnTo>
                  <a:pt x="4886637" y="4643787"/>
                </a:lnTo>
                <a:lnTo>
                  <a:pt x="4791007" y="4797393"/>
                </a:lnTo>
                <a:lnTo>
                  <a:pt x="4693085" y="4951670"/>
                </a:lnTo>
                <a:lnTo>
                  <a:pt x="4643345" y="5028708"/>
                </a:lnTo>
                <a:lnTo>
                  <a:pt x="4593128" y="5105493"/>
                </a:lnTo>
                <a:lnTo>
                  <a:pt x="4474728" y="5283830"/>
                </a:lnTo>
                <a:lnTo>
                  <a:pt x="4416327" y="5370560"/>
                </a:lnTo>
                <a:lnTo>
                  <a:pt x="4358390" y="5455683"/>
                </a:lnTo>
                <a:lnTo>
                  <a:pt x="4300871" y="5539212"/>
                </a:lnTo>
                <a:lnTo>
                  <a:pt x="4243717" y="5621163"/>
                </a:lnTo>
                <a:lnTo>
                  <a:pt x="4186885" y="5701549"/>
                </a:lnTo>
                <a:lnTo>
                  <a:pt x="4130321" y="5780385"/>
                </a:lnTo>
                <a:lnTo>
                  <a:pt x="4073979" y="5857683"/>
                </a:lnTo>
                <a:lnTo>
                  <a:pt x="4017807" y="5933459"/>
                </a:lnTo>
                <a:lnTo>
                  <a:pt x="3961759" y="6007725"/>
                </a:lnTo>
                <a:lnTo>
                  <a:pt x="3905784" y="6080498"/>
                </a:lnTo>
                <a:lnTo>
                  <a:pt x="3849834" y="6151791"/>
                </a:lnTo>
                <a:lnTo>
                  <a:pt x="3793857" y="6221619"/>
                </a:lnTo>
                <a:lnTo>
                  <a:pt x="3737809" y="6289994"/>
                </a:lnTo>
                <a:lnTo>
                  <a:pt x="3681638" y="6356932"/>
                </a:lnTo>
                <a:lnTo>
                  <a:pt x="3625293" y="6422445"/>
                </a:lnTo>
                <a:lnTo>
                  <a:pt x="3568729" y="6486550"/>
                </a:lnTo>
                <a:lnTo>
                  <a:pt x="3511896" y="6549259"/>
                </a:lnTo>
                <a:lnTo>
                  <a:pt x="3454743" y="6610586"/>
                </a:lnTo>
                <a:lnTo>
                  <a:pt x="3397220" y="6670548"/>
                </a:lnTo>
                <a:lnTo>
                  <a:pt x="3339281" y="6729154"/>
                </a:lnTo>
                <a:lnTo>
                  <a:pt x="3280877" y="6786423"/>
                </a:lnTo>
                <a:lnTo>
                  <a:pt x="3252381" y="6813481"/>
                </a:lnTo>
                <a:lnTo>
                  <a:pt x="0" y="6813481"/>
                </a:lnTo>
                <a:lnTo>
                  <a:pt x="74207" y="6804690"/>
                </a:lnTo>
                <a:lnTo>
                  <a:pt x="164513" y="6792952"/>
                </a:lnTo>
                <a:lnTo>
                  <a:pt x="252866" y="6780404"/>
                </a:lnTo>
                <a:lnTo>
                  <a:pt x="339301" y="6767041"/>
                </a:lnTo>
                <a:lnTo>
                  <a:pt x="423857" y="6752853"/>
                </a:lnTo>
                <a:lnTo>
                  <a:pt x="506568" y="6737837"/>
                </a:lnTo>
                <a:lnTo>
                  <a:pt x="587474" y="6721985"/>
                </a:lnTo>
                <a:lnTo>
                  <a:pt x="666608" y="6705291"/>
                </a:lnTo>
                <a:lnTo>
                  <a:pt x="744010" y="6687749"/>
                </a:lnTo>
                <a:lnTo>
                  <a:pt x="819716" y="6669352"/>
                </a:lnTo>
                <a:lnTo>
                  <a:pt x="893760" y="6650094"/>
                </a:lnTo>
                <a:lnTo>
                  <a:pt x="966183" y="6629969"/>
                </a:lnTo>
                <a:lnTo>
                  <a:pt x="1037016" y="6608968"/>
                </a:lnTo>
                <a:lnTo>
                  <a:pt x="1106299" y="6587089"/>
                </a:lnTo>
                <a:lnTo>
                  <a:pt x="1174071" y="6564321"/>
                </a:lnTo>
                <a:lnTo>
                  <a:pt x="1240365" y="6540661"/>
                </a:lnTo>
                <a:lnTo>
                  <a:pt x="1305220" y="6516101"/>
                </a:lnTo>
                <a:lnTo>
                  <a:pt x="1368669" y="6490636"/>
                </a:lnTo>
                <a:lnTo>
                  <a:pt x="1491506" y="6436962"/>
                </a:lnTo>
                <a:lnTo>
                  <a:pt x="1609172" y="6379586"/>
                </a:lnTo>
                <a:lnTo>
                  <a:pt x="1721954" y="6318459"/>
                </a:lnTo>
                <a:lnTo>
                  <a:pt x="1791940" y="6277227"/>
                </a:lnTo>
                <a:lnTo>
                  <a:pt x="1860237" y="6234407"/>
                </a:lnTo>
                <a:lnTo>
                  <a:pt x="1926946" y="6189988"/>
                </a:lnTo>
                <a:lnTo>
                  <a:pt x="1992164" y="6143954"/>
                </a:lnTo>
                <a:lnTo>
                  <a:pt x="2055988" y="6096292"/>
                </a:lnTo>
                <a:lnTo>
                  <a:pt x="2118520" y="6046986"/>
                </a:lnTo>
                <a:lnTo>
                  <a:pt x="2179856" y="5996026"/>
                </a:lnTo>
                <a:lnTo>
                  <a:pt x="2240097" y="5943396"/>
                </a:lnTo>
                <a:lnTo>
                  <a:pt x="2299339" y="5889082"/>
                </a:lnTo>
                <a:lnTo>
                  <a:pt x="2357680" y="5833070"/>
                </a:lnTo>
                <a:lnTo>
                  <a:pt x="2415221" y="5775347"/>
                </a:lnTo>
                <a:lnTo>
                  <a:pt x="2472057" y="5715899"/>
                </a:lnTo>
                <a:lnTo>
                  <a:pt x="2528292" y="5654712"/>
                </a:lnTo>
                <a:lnTo>
                  <a:pt x="2584019" y="5591772"/>
                </a:lnTo>
                <a:lnTo>
                  <a:pt x="2639343" y="5527064"/>
                </a:lnTo>
                <a:lnTo>
                  <a:pt x="2694354" y="5460576"/>
                </a:lnTo>
                <a:lnTo>
                  <a:pt x="2749158" y="5392294"/>
                </a:lnTo>
                <a:lnTo>
                  <a:pt x="2803849" y="5322202"/>
                </a:lnTo>
                <a:lnTo>
                  <a:pt x="2858528" y="5250288"/>
                </a:lnTo>
                <a:lnTo>
                  <a:pt x="2913293" y="5176539"/>
                </a:lnTo>
                <a:lnTo>
                  <a:pt x="2968243" y="5100939"/>
                </a:lnTo>
                <a:lnTo>
                  <a:pt x="3023476" y="5023475"/>
                </a:lnTo>
                <a:lnTo>
                  <a:pt x="3079089" y="4944134"/>
                </a:lnTo>
                <a:lnTo>
                  <a:pt x="3135182" y="4862902"/>
                </a:lnTo>
                <a:lnTo>
                  <a:pt x="3191854" y="4779764"/>
                </a:lnTo>
                <a:lnTo>
                  <a:pt x="3307328" y="4607714"/>
                </a:lnTo>
                <a:lnTo>
                  <a:pt x="3426298" y="4427878"/>
                </a:lnTo>
                <a:lnTo>
                  <a:pt x="3476885" y="4350438"/>
                </a:lnTo>
                <a:lnTo>
                  <a:pt x="3526967" y="4272714"/>
                </a:lnTo>
                <a:lnTo>
                  <a:pt x="3576567" y="4194772"/>
                </a:lnTo>
                <a:lnTo>
                  <a:pt x="3625708" y="4116677"/>
                </a:lnTo>
                <a:lnTo>
                  <a:pt x="3722697" y="3960287"/>
                </a:lnTo>
                <a:lnTo>
                  <a:pt x="3818115" y="3804074"/>
                </a:lnTo>
                <a:lnTo>
                  <a:pt x="4197885" y="3174408"/>
                </a:lnTo>
                <a:lnTo>
                  <a:pt x="4315305" y="2982607"/>
                </a:lnTo>
                <a:lnTo>
                  <a:pt x="4394671" y="2855040"/>
                </a:lnTo>
                <a:lnTo>
                  <a:pt x="4475128" y="2727855"/>
                </a:lnTo>
                <a:lnTo>
                  <a:pt x="4556872" y="2601169"/>
                </a:lnTo>
                <a:lnTo>
                  <a:pt x="4640091" y="2475105"/>
                </a:lnTo>
                <a:lnTo>
                  <a:pt x="4682313" y="2412345"/>
                </a:lnTo>
                <a:lnTo>
                  <a:pt x="4724977" y="2349785"/>
                </a:lnTo>
                <a:lnTo>
                  <a:pt x="4768105" y="2287441"/>
                </a:lnTo>
                <a:lnTo>
                  <a:pt x="4811725" y="2225328"/>
                </a:lnTo>
                <a:lnTo>
                  <a:pt x="4855855" y="2163462"/>
                </a:lnTo>
                <a:lnTo>
                  <a:pt x="4900523" y="2101856"/>
                </a:lnTo>
                <a:lnTo>
                  <a:pt x="4945752" y="2040526"/>
                </a:lnTo>
                <a:lnTo>
                  <a:pt x="4991565" y="1979488"/>
                </a:lnTo>
                <a:lnTo>
                  <a:pt x="5037986" y="1918757"/>
                </a:lnTo>
                <a:lnTo>
                  <a:pt x="5085041" y="1858346"/>
                </a:lnTo>
                <a:lnTo>
                  <a:pt x="5132752" y="1798272"/>
                </a:lnTo>
                <a:lnTo>
                  <a:pt x="5181144" y="1738551"/>
                </a:lnTo>
                <a:lnTo>
                  <a:pt x="5230241" y="1679196"/>
                </a:lnTo>
                <a:lnTo>
                  <a:pt x="5280067" y="1620223"/>
                </a:lnTo>
                <a:lnTo>
                  <a:pt x="5330643" y="1561646"/>
                </a:lnTo>
                <a:lnTo>
                  <a:pt x="5381998" y="1503482"/>
                </a:lnTo>
                <a:lnTo>
                  <a:pt x="5434153" y="1445745"/>
                </a:lnTo>
                <a:lnTo>
                  <a:pt x="5487133" y="1388450"/>
                </a:lnTo>
                <a:lnTo>
                  <a:pt x="5540960" y="1331612"/>
                </a:lnTo>
                <a:lnTo>
                  <a:pt x="5595660" y="1275247"/>
                </a:lnTo>
                <a:lnTo>
                  <a:pt x="5651256" y="1219368"/>
                </a:lnTo>
                <a:lnTo>
                  <a:pt x="5707773" y="1163993"/>
                </a:lnTo>
                <a:lnTo>
                  <a:pt x="5765234" y="1109137"/>
                </a:lnTo>
                <a:lnTo>
                  <a:pt x="5823662" y="1054812"/>
                </a:lnTo>
                <a:lnTo>
                  <a:pt x="5883083" y="1001034"/>
                </a:lnTo>
                <a:lnTo>
                  <a:pt x="5943522" y="947821"/>
                </a:lnTo>
                <a:lnTo>
                  <a:pt x="6004999" y="895186"/>
                </a:lnTo>
                <a:lnTo>
                  <a:pt x="6067541" y="843142"/>
                </a:lnTo>
                <a:lnTo>
                  <a:pt x="6131171" y="791708"/>
                </a:lnTo>
                <a:lnTo>
                  <a:pt x="6195913" y="740896"/>
                </a:lnTo>
                <a:lnTo>
                  <a:pt x="6261791" y="690723"/>
                </a:lnTo>
                <a:lnTo>
                  <a:pt x="6328829" y="641204"/>
                </a:lnTo>
                <a:lnTo>
                  <a:pt x="6397050" y="592354"/>
                </a:lnTo>
                <a:lnTo>
                  <a:pt x="6466481" y="544187"/>
                </a:lnTo>
                <a:lnTo>
                  <a:pt x="6537143" y="496719"/>
                </a:lnTo>
                <a:lnTo>
                  <a:pt x="6609061" y="449965"/>
                </a:lnTo>
                <a:lnTo>
                  <a:pt x="6682257" y="403940"/>
                </a:lnTo>
                <a:lnTo>
                  <a:pt x="6756759" y="358658"/>
                </a:lnTo>
                <a:lnTo>
                  <a:pt x="6832588" y="314136"/>
                </a:lnTo>
                <a:lnTo>
                  <a:pt x="6909768" y="270388"/>
                </a:lnTo>
                <a:lnTo>
                  <a:pt x="6988325" y="227428"/>
                </a:lnTo>
                <a:lnTo>
                  <a:pt x="7068281" y="185274"/>
                </a:lnTo>
                <a:lnTo>
                  <a:pt x="7149661" y="143939"/>
                </a:lnTo>
                <a:lnTo>
                  <a:pt x="7232489" y="103438"/>
                </a:lnTo>
                <a:lnTo>
                  <a:pt x="7316788" y="63788"/>
                </a:lnTo>
                <a:lnTo>
                  <a:pt x="7402582" y="25003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2000">
                <a:schemeClr val="accent1"/>
              </a:gs>
            </a:gsLst>
            <a:lin ang="17400000" scaled="0"/>
          </a:gra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1FB590B-F729-1311-F265-9706F36BC6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818671"/>
            <a:ext cx="5512490" cy="1631707"/>
          </a:xfrm>
          <a:prstGeom prst="rect">
            <a:avLst/>
          </a:prstGeom>
        </p:spPr>
        <p:txBody>
          <a:bodyPr/>
          <a:lstStyle>
            <a:lvl1pPr>
              <a:defRPr sz="6000" b="0">
                <a:latin typeface="DM Serif Display" pitchFamily="2" charset="0"/>
                <a:cs typeface="Times New Roman" panose="02020603050405020304" pitchFamily="18" charset="0"/>
              </a:defRPr>
            </a:lvl1pPr>
          </a:lstStyle>
          <a:p>
            <a:r>
              <a:rPr lang="en-CA"/>
              <a:t>This is a title for a cover slid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11A083D-5E73-F48A-2AFF-B00CDF54C6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3745280"/>
            <a:ext cx="5512489" cy="433967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2" name="Graphic 3">
            <a:extLst>
              <a:ext uri="{FF2B5EF4-FFF2-40B4-BE49-F238E27FC236}">
                <a16:creationId xmlns:a16="http://schemas.microsoft.com/office/drawing/2014/main" id="{2C30B9BD-1FFC-C143-A497-83203D5A3D7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71470" y="377105"/>
            <a:ext cx="2466732" cy="76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242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2101D4D-02F6-F33A-EF51-A8E56C536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2751868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333" imgH="333" progId="TCLayout.ActiveDocument.1">
                  <p:embed/>
                </p:oleObj>
              </mc:Choice>
              <mc:Fallback>
                <p:oleObj name="think-cell Slide" r:id="rId64" imgW="333" imgH="333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101D4D-02F6-F33A-EF51-A8E56C536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EACCD54-2E59-45C6-AEAB-E12623A9E31F}"/>
              </a:ext>
            </a:extLst>
          </p:cNvPr>
          <p:cNvSpPr txBox="1"/>
          <p:nvPr userDrawn="1"/>
        </p:nvSpPr>
        <p:spPr>
          <a:xfrm>
            <a:off x="345685" y="6522395"/>
            <a:ext cx="343183" cy="195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DM Sans" pitchFamily="2" charset="0"/>
              <a:buNone/>
              <a:defRPr sz="800">
                <a:solidFill>
                  <a:srgbClr val="40454D"/>
                </a:solidFill>
                <a:latin typeface="DM Sans" pitchFamily="2" charset="0"/>
                <a:cs typeface="DM Sans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</a:lvl9pPr>
          </a:lstStyle>
          <a:p>
            <a:pPr marL="0" lvl="0" indent="0"/>
            <a:fld id="{C67458B2-126D-41DF-9342-05EBD80CAE7A}" type="slidenum">
              <a:rPr lang="en-CA" smtClean="0">
                <a:latin typeface="DM Sans" pitchFamily="2" charset="0"/>
              </a:rPr>
              <a:pPr marL="0" lvl="0" indent="0"/>
              <a:t>‹#›</a:t>
            </a:fld>
            <a:endParaRPr lang="en-CA">
              <a:latin typeface="DM Sans" pitchFamily="2" charset="0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AB4CEFC8-265D-43C0-A29B-408F220FF9D2}"/>
              </a:ext>
            </a:extLst>
          </p:cNvPr>
          <p:cNvSpPr txBox="1">
            <a:spLocks/>
          </p:cNvSpPr>
          <p:nvPr userDrawn="1"/>
        </p:nvSpPr>
        <p:spPr>
          <a:xfrm>
            <a:off x="842014" y="6471303"/>
            <a:ext cx="3541393" cy="3245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DM Sans" pitchFamily="2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800">
              <a:solidFill>
                <a:srgbClr val="40454D"/>
              </a:solidFill>
              <a:latin typeface="DM Sans" pitchFamily="2" charset="0"/>
              <a:cs typeface="DM Sans" pitchFamily="2" charset="0"/>
            </a:endParaRPr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CDFE2B7B-3150-4E21-A218-A9E885CDC76E}"/>
              </a:ext>
            </a:extLst>
          </p:cNvPr>
          <p:cNvSpPr/>
          <p:nvPr userDrawn="1"/>
        </p:nvSpPr>
        <p:spPr>
          <a:xfrm>
            <a:off x="342900" y="6185676"/>
            <a:ext cx="11511878" cy="91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9D31F7D-E4DE-B968-27F2-A70B13FCA710}"/>
              </a:ext>
            </a:extLst>
          </p:cNvPr>
          <p:cNvPicPr>
            <a:picLocks noChangeAspect="1"/>
          </p:cNvPicPr>
          <p:nvPr userDrawn="1"/>
        </p:nvPicPr>
        <p:blipFill>
          <a:blip r:embed="rId66"/>
          <a:srcRect/>
          <a:stretch/>
        </p:blipFill>
        <p:spPr>
          <a:xfrm>
            <a:off x="9951522" y="6013525"/>
            <a:ext cx="1894794" cy="590406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6D48C24-BB38-C224-2EC8-E1FD88CB1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68300"/>
            <a:ext cx="5410200" cy="55117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C249EA7-E6B4-91B4-E221-0151FE8347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07163" y="368300"/>
            <a:ext cx="5313361" cy="55117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7284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824" r:id="rId2"/>
    <p:sldLayoutId id="2147483825" r:id="rId3"/>
    <p:sldLayoutId id="2147483827" r:id="rId4"/>
    <p:sldLayoutId id="2147483826" r:id="rId5"/>
    <p:sldLayoutId id="2147483828" r:id="rId6"/>
    <p:sldLayoutId id="2147483830" r:id="rId7"/>
    <p:sldLayoutId id="2147483831" r:id="rId8"/>
    <p:sldLayoutId id="2147483832" r:id="rId9"/>
    <p:sldLayoutId id="2147483833" r:id="rId10"/>
    <p:sldLayoutId id="2147483835" r:id="rId11"/>
    <p:sldLayoutId id="2147483834" r:id="rId12"/>
    <p:sldLayoutId id="2147483768" r:id="rId13"/>
    <p:sldLayoutId id="2147483814" r:id="rId14"/>
    <p:sldLayoutId id="2147483769" r:id="rId15"/>
    <p:sldLayoutId id="2147483815" r:id="rId16"/>
    <p:sldLayoutId id="2147483770" r:id="rId17"/>
    <p:sldLayoutId id="2147483771" r:id="rId18"/>
    <p:sldLayoutId id="2147483772" r:id="rId19"/>
    <p:sldLayoutId id="2147483816" r:id="rId20"/>
    <p:sldLayoutId id="2147483773" r:id="rId21"/>
    <p:sldLayoutId id="2147483775" r:id="rId22"/>
    <p:sldLayoutId id="2147483774" r:id="rId23"/>
    <p:sldLayoutId id="2147483776" r:id="rId24"/>
    <p:sldLayoutId id="2147483777" r:id="rId25"/>
    <p:sldLayoutId id="2147483817" r:id="rId26"/>
    <p:sldLayoutId id="2147483778" r:id="rId27"/>
    <p:sldLayoutId id="2147483779" r:id="rId28"/>
    <p:sldLayoutId id="2147483782" r:id="rId29"/>
    <p:sldLayoutId id="2147483783" r:id="rId30"/>
    <p:sldLayoutId id="2147483784" r:id="rId31"/>
    <p:sldLayoutId id="2147483838" r:id="rId32"/>
    <p:sldLayoutId id="2147483786" r:id="rId33"/>
    <p:sldLayoutId id="2147483787" r:id="rId34"/>
    <p:sldLayoutId id="2147483788" r:id="rId35"/>
    <p:sldLayoutId id="2147483789" r:id="rId36"/>
    <p:sldLayoutId id="2147483790" r:id="rId37"/>
    <p:sldLayoutId id="2147483791" r:id="rId38"/>
    <p:sldLayoutId id="2147483792" r:id="rId39"/>
    <p:sldLayoutId id="2147483793" r:id="rId40"/>
    <p:sldLayoutId id="2147483794" r:id="rId41"/>
    <p:sldLayoutId id="2147483795" r:id="rId42"/>
    <p:sldLayoutId id="2147483796" r:id="rId43"/>
    <p:sldLayoutId id="2147483797" r:id="rId44"/>
    <p:sldLayoutId id="2147483798" r:id="rId45"/>
    <p:sldLayoutId id="2147483799" r:id="rId46"/>
    <p:sldLayoutId id="2147483800" r:id="rId47"/>
    <p:sldLayoutId id="2147483801" r:id="rId48"/>
    <p:sldLayoutId id="2147483802" r:id="rId49"/>
    <p:sldLayoutId id="2147483803" r:id="rId50"/>
    <p:sldLayoutId id="2147483804" r:id="rId51"/>
    <p:sldLayoutId id="2147483805" r:id="rId52"/>
    <p:sldLayoutId id="2147483806" r:id="rId53"/>
    <p:sldLayoutId id="2147483807" r:id="rId54"/>
    <p:sldLayoutId id="2147483808" r:id="rId55"/>
    <p:sldLayoutId id="2147483839" r:id="rId56"/>
    <p:sldLayoutId id="2147483840" r:id="rId57"/>
    <p:sldLayoutId id="2147483841" r:id="rId58"/>
    <p:sldLayoutId id="2147483842" r:id="rId59"/>
    <p:sldLayoutId id="2147483843" r:id="rId60"/>
    <p:sldLayoutId id="2147483844" r:id="rId6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0" kern="1200">
          <a:solidFill>
            <a:schemeClr val="accent3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DM Sans" pitchFamily="2" charset="0"/>
        <a:buNone/>
        <a:defRPr sz="24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227013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DM Sans" pitchFamily="2" charset="0"/>
        <a:buNone/>
        <a:defRPr sz="2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461963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DM Sans" pitchFamily="2" charset="0"/>
        <a:buNone/>
        <a:defRPr sz="20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687387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DM Sans" pitchFamily="2" charset="0"/>
        <a:buNone/>
        <a:defRPr sz="18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DM Sans" pitchFamily="2" charset="0"/>
        <a:buNone/>
        <a:defRPr sz="16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DM Sans" pitchFamily="2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DM Sans" pitchFamily="2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DM Sans" pitchFamily="2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DM Sans" pitchFamily="2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234" userDrawn="1">
          <p15:clr>
            <a:srgbClr val="F26B43"/>
          </p15:clr>
        </p15:guide>
        <p15:guide id="6" orient="horz" pos="232" userDrawn="1">
          <p15:clr>
            <a:srgbClr val="F26B43"/>
          </p15:clr>
        </p15:guide>
        <p15:guide id="7" pos="744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orient="horz" pos="39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openxmlformats.org/officeDocument/2006/relationships/image" Target="../media/image87.svg"/><Relationship Id="rId18" Type="http://schemas.openxmlformats.org/officeDocument/2006/relationships/image" Target="../media/image92.png"/><Relationship Id="rId3" Type="http://schemas.openxmlformats.org/officeDocument/2006/relationships/image" Target="../media/image77.svg"/><Relationship Id="rId21" Type="http://schemas.openxmlformats.org/officeDocument/2006/relationships/image" Target="../media/image95.svg"/><Relationship Id="rId7" Type="http://schemas.openxmlformats.org/officeDocument/2006/relationships/image" Target="../media/image81.svg"/><Relationship Id="rId12" Type="http://schemas.openxmlformats.org/officeDocument/2006/relationships/image" Target="../media/image86.png"/><Relationship Id="rId17" Type="http://schemas.openxmlformats.org/officeDocument/2006/relationships/image" Target="../media/image91.svg"/><Relationship Id="rId25" Type="http://schemas.openxmlformats.org/officeDocument/2006/relationships/image" Target="../media/image99.svg"/><Relationship Id="rId2" Type="http://schemas.openxmlformats.org/officeDocument/2006/relationships/image" Target="../media/image76.png"/><Relationship Id="rId16" Type="http://schemas.openxmlformats.org/officeDocument/2006/relationships/image" Target="../media/image90.png"/><Relationship Id="rId20" Type="http://schemas.openxmlformats.org/officeDocument/2006/relationships/image" Target="../media/image94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80.png"/><Relationship Id="rId11" Type="http://schemas.openxmlformats.org/officeDocument/2006/relationships/image" Target="../media/image85.svg"/><Relationship Id="rId24" Type="http://schemas.openxmlformats.org/officeDocument/2006/relationships/image" Target="../media/image98.png"/><Relationship Id="rId5" Type="http://schemas.openxmlformats.org/officeDocument/2006/relationships/image" Target="../media/image79.svg"/><Relationship Id="rId15" Type="http://schemas.openxmlformats.org/officeDocument/2006/relationships/image" Target="../media/image89.svg"/><Relationship Id="rId23" Type="http://schemas.openxmlformats.org/officeDocument/2006/relationships/image" Target="../media/image97.svg"/><Relationship Id="rId10" Type="http://schemas.openxmlformats.org/officeDocument/2006/relationships/image" Target="../media/image84.png"/><Relationship Id="rId19" Type="http://schemas.openxmlformats.org/officeDocument/2006/relationships/image" Target="../media/image93.svg"/><Relationship Id="rId4" Type="http://schemas.openxmlformats.org/officeDocument/2006/relationships/image" Target="../media/image78.png"/><Relationship Id="rId9" Type="http://schemas.openxmlformats.org/officeDocument/2006/relationships/image" Target="../media/image83.svg"/><Relationship Id="rId14" Type="http://schemas.openxmlformats.org/officeDocument/2006/relationships/image" Target="../media/image88.png"/><Relationship Id="rId22" Type="http://schemas.openxmlformats.org/officeDocument/2006/relationships/image" Target="../media/image9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0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sv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89.svg"/><Relationship Id="rId4" Type="http://schemas.openxmlformats.org/officeDocument/2006/relationships/image" Target="../media/image8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5" descr="A person smiling at a computer&#10;&#10;Description automatically generated">
            <a:extLst>
              <a:ext uri="{FF2B5EF4-FFF2-40B4-BE49-F238E27FC236}">
                <a16:creationId xmlns:a16="http://schemas.microsoft.com/office/drawing/2014/main" id="{04639310-8F54-C7A0-C514-279D23488E3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608965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18698C7-33E9-6ED3-2230-F964C8120F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3616" y="1162082"/>
            <a:ext cx="3926164" cy="128027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93AFB01-7270-4549-C1E5-6ABC2E11110E}"/>
              </a:ext>
            </a:extLst>
          </p:cNvPr>
          <p:cNvSpPr txBox="1"/>
          <p:nvPr/>
        </p:nvSpPr>
        <p:spPr>
          <a:xfrm>
            <a:off x="6215419" y="2151725"/>
            <a:ext cx="6097772" cy="29392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000" b="0" i="0" dirty="0">
                <a:effectLst/>
                <a:latin typeface="DM Sans" pitchFamily="2" charset="0"/>
              </a:rPr>
              <a:t>Our approach to client hardware forecasting involves collaboration between </a:t>
            </a:r>
            <a:r>
              <a:rPr lang="en-US" dirty="0">
                <a:latin typeface="DM Sans" pitchFamily="2" charset="0"/>
              </a:rPr>
              <a:t>customers</a:t>
            </a:r>
            <a:r>
              <a:rPr lang="en-US" sz="2000" b="0" i="0" dirty="0">
                <a:effectLst/>
                <a:latin typeface="DM Sans" pitchFamily="2" charset="0"/>
              </a:rPr>
              <a:t>, vendors, and </a:t>
            </a:r>
            <a:r>
              <a:rPr lang="en-US" dirty="0">
                <a:latin typeface="DM Sans" pitchFamily="2" charset="0"/>
              </a:rPr>
              <a:t>Softchoice</a:t>
            </a:r>
            <a:r>
              <a:rPr lang="en-US" sz="2000" b="0" i="0" dirty="0">
                <a:effectLst/>
                <a:latin typeface="DM Sans" pitchFamily="2" charset="0"/>
              </a:rPr>
              <a:t>. We leverage data-driven insights and industry expertise to provide accurate and actionable forecasts. </a:t>
            </a:r>
          </a:p>
          <a:p>
            <a:pPr marL="0" indent="0">
              <a:buNone/>
            </a:pPr>
            <a:r>
              <a:rPr lang="en-US" sz="2000" b="0" i="0" dirty="0">
                <a:effectLst/>
                <a:latin typeface="DM Sans" pitchFamily="2" charset="0"/>
              </a:rPr>
              <a:t>Forecasting will help our your organization make informed decisions based on historical data, vendor road mapping, and allow you to stay ahead </a:t>
            </a:r>
            <a:r>
              <a:rPr lang="en-US" sz="2000" b="0" i="0">
                <a:effectLst/>
                <a:latin typeface="DM Sans" pitchFamily="2" charset="0"/>
              </a:rPr>
              <a:t>of your </a:t>
            </a:r>
            <a:r>
              <a:rPr lang="en-US" sz="2000" b="0" i="0" dirty="0">
                <a:effectLst/>
                <a:latin typeface="DM Sans" pitchFamily="2" charset="0"/>
              </a:rPr>
              <a:t>competition.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43108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2564833C-0A2C-F55C-8400-A50CB2A34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z="3000">
                <a:ea typeface="+mj-ea"/>
                <a:cs typeface="+mj-cs"/>
              </a:rPr>
              <a:t>Forecasting</a:t>
            </a:r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027942F-62AB-1E42-8B71-E68B9B8915E0}"/>
              </a:ext>
            </a:extLst>
          </p:cNvPr>
          <p:cNvSpPr txBox="1">
            <a:spLocks/>
          </p:cNvSpPr>
          <p:nvPr/>
        </p:nvSpPr>
        <p:spPr>
          <a:xfrm>
            <a:off x="9421227" y="409916"/>
            <a:ext cx="1183583" cy="292609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227013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2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687387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2000">
                <a:solidFill>
                  <a:schemeClr val="bg1"/>
                </a:solidFill>
                <a:latin typeface="DM Sans" pitchFamily="2" charset="77"/>
              </a:rPr>
              <a:t>Benefits</a:t>
            </a:r>
            <a:endParaRPr lang="en-CA">
              <a:solidFill>
                <a:schemeClr val="bg1"/>
              </a:solidFill>
              <a:latin typeface="DM Sans" pitchFamily="2" charset="77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E6E9368-C3AD-097E-6A9E-AB7B0C30CC58}"/>
              </a:ext>
            </a:extLst>
          </p:cNvPr>
          <p:cNvGrpSpPr/>
          <p:nvPr/>
        </p:nvGrpSpPr>
        <p:grpSpPr>
          <a:xfrm>
            <a:off x="9457266" y="831208"/>
            <a:ext cx="2369610" cy="689355"/>
            <a:chOff x="8683341" y="2270783"/>
            <a:chExt cx="2369610" cy="689355"/>
          </a:xfrm>
        </p:grpSpPr>
        <p:sp>
          <p:nvSpPr>
            <p:cNvPr id="26" name="Text Placeholder 2">
              <a:extLst>
                <a:ext uri="{FF2B5EF4-FFF2-40B4-BE49-F238E27FC236}">
                  <a16:creationId xmlns:a16="http://schemas.microsoft.com/office/drawing/2014/main" id="{7AD4481C-6FE9-934B-1EFA-08B2B03906A5}"/>
                </a:ext>
              </a:extLst>
            </p:cNvPr>
            <p:cNvSpPr txBox="1">
              <a:spLocks/>
            </p:cNvSpPr>
            <p:nvPr/>
          </p:nvSpPr>
          <p:spPr>
            <a:xfrm>
              <a:off x="9253729" y="2270783"/>
              <a:ext cx="1799222" cy="68935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1pPr>
              <a:lvl2pPr marL="22701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2pPr>
              <a:lvl3pPr marL="46196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0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3pPr>
              <a:lvl4pPr marL="687387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9144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6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CA">
                  <a:solidFill>
                    <a:schemeClr val="bg1"/>
                  </a:solidFill>
                  <a:latin typeface="+mj-lt"/>
                </a:rPr>
                <a:t>Cost effective </a:t>
              </a:r>
            </a:p>
            <a:p>
              <a:pPr marL="512763" lvl="1" indent="-285750">
                <a:lnSpc>
                  <a:spcPts val="1040"/>
                </a:lnSpc>
                <a:buFont typeface="Arial" panose="020B0604020202020204" pitchFamily="34" charset="0"/>
                <a:buChar char="•"/>
              </a:pPr>
              <a:r>
                <a:rPr lang="en-CA" sz="1200">
                  <a:solidFill>
                    <a:schemeClr val="bg1"/>
                  </a:solidFill>
                  <a:latin typeface="DM Sans" pitchFamily="2" charset="77"/>
                </a:rPr>
                <a:t>Free Storage</a:t>
              </a:r>
            </a:p>
            <a:p>
              <a:pPr marL="512763" lvl="1" indent="-285750">
                <a:lnSpc>
                  <a:spcPts val="1040"/>
                </a:lnSpc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n-CA" sz="1200">
                  <a:solidFill>
                    <a:schemeClr val="bg1"/>
                  </a:solidFill>
                  <a:latin typeface="DM Sans" pitchFamily="2" charset="77"/>
                </a:rPr>
                <a:t>No need to </a:t>
              </a:r>
              <a:br>
                <a:rPr lang="en-CA" sz="1200">
                  <a:solidFill>
                    <a:schemeClr val="bg1"/>
                  </a:solidFill>
                  <a:latin typeface="DM Sans" pitchFamily="2" charset="77"/>
                </a:rPr>
              </a:br>
              <a:r>
                <a:rPr lang="en-CA" sz="1200">
                  <a:solidFill>
                    <a:schemeClr val="bg1"/>
                  </a:solidFill>
                  <a:latin typeface="DM Sans" pitchFamily="2" charset="77"/>
                </a:rPr>
                <a:t>purchase upfront</a:t>
              </a: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91B12DBE-B1D9-2576-A4B2-213D7879E8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83341" y="2275784"/>
              <a:ext cx="354932" cy="354932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64122FF-1FAA-AD49-FCDD-8298B2212D65}"/>
              </a:ext>
            </a:extLst>
          </p:cNvPr>
          <p:cNvGrpSpPr/>
          <p:nvPr/>
        </p:nvGrpSpPr>
        <p:grpSpPr>
          <a:xfrm>
            <a:off x="9457266" y="1930245"/>
            <a:ext cx="2740563" cy="354932"/>
            <a:chOff x="8683341" y="3211118"/>
            <a:chExt cx="2740563" cy="354932"/>
          </a:xfrm>
        </p:grpSpPr>
        <p:sp>
          <p:nvSpPr>
            <p:cNvPr id="29" name="Text Placeholder 2">
              <a:extLst>
                <a:ext uri="{FF2B5EF4-FFF2-40B4-BE49-F238E27FC236}">
                  <a16:creationId xmlns:a16="http://schemas.microsoft.com/office/drawing/2014/main" id="{898F538A-A3B4-9AB1-2552-B5EAE85EFFA8}"/>
                </a:ext>
              </a:extLst>
            </p:cNvPr>
            <p:cNvSpPr txBox="1">
              <a:spLocks/>
            </p:cNvSpPr>
            <p:nvPr/>
          </p:nvSpPr>
          <p:spPr>
            <a:xfrm>
              <a:off x="9253729" y="3215045"/>
              <a:ext cx="2170175" cy="347077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1pPr>
              <a:lvl2pPr marL="22701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2pPr>
              <a:lvl3pPr marL="46196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0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3pPr>
              <a:lvl4pPr marL="687387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9144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6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CA">
                  <a:solidFill>
                    <a:schemeClr val="bg1"/>
                  </a:solidFill>
                  <a:latin typeface="+mj-lt"/>
                </a:rPr>
                <a:t>Limit risk of vendor </a:t>
              </a:r>
              <a:br>
                <a:rPr lang="en-CA">
                  <a:solidFill>
                    <a:schemeClr val="bg1"/>
                  </a:solidFill>
                  <a:latin typeface="+mj-lt"/>
                </a:rPr>
              </a:br>
              <a:r>
                <a:rPr lang="en-CA">
                  <a:solidFill>
                    <a:schemeClr val="bg1"/>
                  </a:solidFill>
                  <a:latin typeface="+mj-lt"/>
                </a:rPr>
                <a:t>delays</a:t>
              </a:r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AB1EC86B-C6C8-EF0C-F252-F25A5758C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683341" y="3211118"/>
              <a:ext cx="354932" cy="354932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3ACC792-6A50-83BA-A774-2F83AC9DFC93}"/>
              </a:ext>
            </a:extLst>
          </p:cNvPr>
          <p:cNvGrpSpPr/>
          <p:nvPr/>
        </p:nvGrpSpPr>
        <p:grpSpPr>
          <a:xfrm>
            <a:off x="9421227" y="2694859"/>
            <a:ext cx="2776602" cy="354932"/>
            <a:chOff x="8647302" y="3734860"/>
            <a:chExt cx="2776602" cy="354932"/>
          </a:xfrm>
        </p:grpSpPr>
        <p:sp>
          <p:nvSpPr>
            <p:cNvPr id="32" name="Text Placeholder 2">
              <a:extLst>
                <a:ext uri="{FF2B5EF4-FFF2-40B4-BE49-F238E27FC236}">
                  <a16:creationId xmlns:a16="http://schemas.microsoft.com/office/drawing/2014/main" id="{37F26EF0-EC27-A1F9-E128-9ABF1C2A983F}"/>
                </a:ext>
              </a:extLst>
            </p:cNvPr>
            <p:cNvSpPr txBox="1">
              <a:spLocks/>
            </p:cNvSpPr>
            <p:nvPr/>
          </p:nvSpPr>
          <p:spPr>
            <a:xfrm>
              <a:off x="9253729" y="3825692"/>
              <a:ext cx="2170175" cy="17326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1pPr>
              <a:lvl2pPr marL="22701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2pPr>
              <a:lvl3pPr marL="46196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0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3pPr>
              <a:lvl4pPr marL="687387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9144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6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CA">
                  <a:solidFill>
                    <a:schemeClr val="bg1"/>
                  </a:solidFill>
                  <a:latin typeface="+mj-lt"/>
                </a:rPr>
                <a:t>Fast turnarounds</a:t>
              </a:r>
            </a:p>
          </p:txBody>
        </p:sp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947A00B7-2770-38C4-1720-DD6943E90B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647302" y="3734860"/>
              <a:ext cx="354932" cy="354932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DADFF23-1371-3B24-1C00-7A35FE3BA19E}"/>
              </a:ext>
            </a:extLst>
          </p:cNvPr>
          <p:cNvGrpSpPr/>
          <p:nvPr/>
        </p:nvGrpSpPr>
        <p:grpSpPr>
          <a:xfrm>
            <a:off x="9421227" y="3459473"/>
            <a:ext cx="2399298" cy="354932"/>
            <a:chOff x="8647302" y="4257906"/>
            <a:chExt cx="2399298" cy="354932"/>
          </a:xfrm>
        </p:grpSpPr>
        <p:sp>
          <p:nvSpPr>
            <p:cNvPr id="35" name="Text Placeholder 2">
              <a:extLst>
                <a:ext uri="{FF2B5EF4-FFF2-40B4-BE49-F238E27FC236}">
                  <a16:creationId xmlns:a16="http://schemas.microsoft.com/office/drawing/2014/main" id="{A2253E06-FFC4-3EAE-C785-308CC214C084}"/>
                </a:ext>
              </a:extLst>
            </p:cNvPr>
            <p:cNvSpPr txBox="1">
              <a:spLocks/>
            </p:cNvSpPr>
            <p:nvPr/>
          </p:nvSpPr>
          <p:spPr>
            <a:xfrm>
              <a:off x="9253729" y="4257906"/>
              <a:ext cx="1792871" cy="31637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1pPr>
              <a:lvl2pPr marL="22701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2pPr>
              <a:lvl3pPr marL="46196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0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3pPr>
              <a:lvl4pPr marL="687387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9144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6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CA">
                  <a:solidFill>
                    <a:schemeClr val="bg1"/>
                  </a:solidFill>
                  <a:latin typeface="+mj-lt"/>
                </a:rPr>
                <a:t>Consistent delivery </a:t>
              </a:r>
              <a:br>
                <a:rPr lang="en-CA">
                  <a:solidFill>
                    <a:schemeClr val="bg1"/>
                  </a:solidFill>
                  <a:latin typeface="+mj-lt"/>
                </a:rPr>
              </a:br>
              <a:r>
                <a:rPr lang="en-CA">
                  <a:solidFill>
                    <a:schemeClr val="bg1"/>
                  </a:solidFill>
                  <a:latin typeface="+mj-lt"/>
                </a:rPr>
                <a:t>timelines</a:t>
              </a: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9B4D690C-C06A-D7FB-0125-0A474D6C5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647302" y="4257906"/>
              <a:ext cx="354932" cy="354932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EA5F484-C825-C170-3DF2-0F9E5E2C1D74}"/>
              </a:ext>
            </a:extLst>
          </p:cNvPr>
          <p:cNvGrpSpPr/>
          <p:nvPr/>
        </p:nvGrpSpPr>
        <p:grpSpPr>
          <a:xfrm>
            <a:off x="9421227" y="4988698"/>
            <a:ext cx="2399298" cy="354932"/>
            <a:chOff x="8647302" y="5325572"/>
            <a:chExt cx="2399298" cy="354932"/>
          </a:xfrm>
        </p:grpSpPr>
        <p:sp>
          <p:nvSpPr>
            <p:cNvPr id="38" name="Text Placeholder 2">
              <a:extLst>
                <a:ext uri="{FF2B5EF4-FFF2-40B4-BE49-F238E27FC236}">
                  <a16:creationId xmlns:a16="http://schemas.microsoft.com/office/drawing/2014/main" id="{C757608E-CEBB-7F98-690D-1F075143B8CC}"/>
                </a:ext>
              </a:extLst>
            </p:cNvPr>
            <p:cNvSpPr txBox="1">
              <a:spLocks/>
            </p:cNvSpPr>
            <p:nvPr/>
          </p:nvSpPr>
          <p:spPr>
            <a:xfrm>
              <a:off x="9253729" y="5416404"/>
              <a:ext cx="1792871" cy="17323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1pPr>
              <a:lvl2pPr marL="22701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2pPr>
              <a:lvl3pPr marL="46196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0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3pPr>
              <a:lvl4pPr marL="687387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9144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6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CA">
                  <a:solidFill>
                    <a:schemeClr val="bg1"/>
                  </a:solidFill>
                  <a:latin typeface="+mj-lt"/>
                </a:rPr>
                <a:t>Product visibility</a:t>
              </a: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220DB775-6C6C-D418-754C-9F2F837439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647302" y="5325572"/>
              <a:ext cx="354932" cy="354932"/>
            </a:xfrm>
            <a:prstGeom prst="rect">
              <a:avLst/>
            </a:prstGeom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9B3D96A-7FD4-286C-62BB-BB4449337536}"/>
              </a:ext>
            </a:extLst>
          </p:cNvPr>
          <p:cNvGrpSpPr/>
          <p:nvPr/>
        </p:nvGrpSpPr>
        <p:grpSpPr>
          <a:xfrm>
            <a:off x="9421227" y="5753318"/>
            <a:ext cx="2399298" cy="354932"/>
            <a:chOff x="9421227" y="5575594"/>
            <a:chExt cx="2399298" cy="354932"/>
          </a:xfrm>
        </p:grpSpPr>
        <p:sp>
          <p:nvSpPr>
            <p:cNvPr id="41" name="Text Placeholder 2">
              <a:extLst>
                <a:ext uri="{FF2B5EF4-FFF2-40B4-BE49-F238E27FC236}">
                  <a16:creationId xmlns:a16="http://schemas.microsoft.com/office/drawing/2014/main" id="{F306E176-3DF7-2DCE-C065-951E4632617D}"/>
                </a:ext>
              </a:extLst>
            </p:cNvPr>
            <p:cNvSpPr txBox="1">
              <a:spLocks/>
            </p:cNvSpPr>
            <p:nvPr/>
          </p:nvSpPr>
          <p:spPr>
            <a:xfrm>
              <a:off x="10027654" y="5575598"/>
              <a:ext cx="1792871" cy="35492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1pPr>
              <a:lvl2pPr marL="22701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2pPr>
              <a:lvl3pPr marL="46196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0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3pPr>
              <a:lvl4pPr marL="687387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9144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6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CA">
                  <a:solidFill>
                    <a:schemeClr val="bg1"/>
                  </a:solidFill>
                  <a:latin typeface="+mj-lt"/>
                </a:rPr>
                <a:t>Smoother product</a:t>
              </a:r>
              <a:br>
                <a:rPr lang="en-CA">
                  <a:solidFill>
                    <a:schemeClr val="bg1"/>
                  </a:solidFill>
                  <a:latin typeface="+mj-lt"/>
                </a:rPr>
              </a:br>
              <a:r>
                <a:rPr lang="en-CA">
                  <a:solidFill>
                    <a:schemeClr val="bg1"/>
                  </a:solidFill>
                  <a:latin typeface="+mj-lt"/>
                </a:rPr>
                <a:t> transitions</a:t>
              </a:r>
            </a:p>
          </p:txBody>
        </p: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032DE2AA-46D0-01E4-2CE2-FAADF6AF0E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421227" y="5575594"/>
              <a:ext cx="354932" cy="354932"/>
            </a:xfrm>
            <a:prstGeom prst="rect">
              <a:avLst/>
            </a:prstGeom>
          </p:spPr>
        </p:pic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C1373A6-E1A7-6701-30BC-B794850E913B}"/>
              </a:ext>
            </a:extLst>
          </p:cNvPr>
          <p:cNvCxnSpPr>
            <a:cxnSpLocks/>
          </p:cNvCxnSpPr>
          <p:nvPr/>
        </p:nvCxnSpPr>
        <p:spPr>
          <a:xfrm flipH="1">
            <a:off x="9414877" y="5548471"/>
            <a:ext cx="2405648" cy="0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1080264-4B67-9729-84E8-F7246B78912C}"/>
              </a:ext>
            </a:extLst>
          </p:cNvPr>
          <p:cNvGrpSpPr/>
          <p:nvPr/>
        </p:nvGrpSpPr>
        <p:grpSpPr>
          <a:xfrm>
            <a:off x="9421230" y="4224087"/>
            <a:ext cx="2399295" cy="354929"/>
            <a:chOff x="8647305" y="4665840"/>
            <a:chExt cx="2399295" cy="354929"/>
          </a:xfrm>
        </p:grpSpPr>
        <p:sp>
          <p:nvSpPr>
            <p:cNvPr id="50" name="Text Placeholder 2">
              <a:extLst>
                <a:ext uri="{FF2B5EF4-FFF2-40B4-BE49-F238E27FC236}">
                  <a16:creationId xmlns:a16="http://schemas.microsoft.com/office/drawing/2014/main" id="{5306DC7D-C8A0-2343-A89F-68B8E503E1B6}"/>
                </a:ext>
              </a:extLst>
            </p:cNvPr>
            <p:cNvSpPr txBox="1">
              <a:spLocks/>
            </p:cNvSpPr>
            <p:nvPr/>
          </p:nvSpPr>
          <p:spPr>
            <a:xfrm>
              <a:off x="9253729" y="4665846"/>
              <a:ext cx="1792871" cy="35492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1pPr>
              <a:lvl2pPr marL="22701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2pPr>
              <a:lvl3pPr marL="46196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0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3pPr>
              <a:lvl4pPr marL="687387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9144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6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CA">
                  <a:solidFill>
                    <a:schemeClr val="bg1"/>
                  </a:solidFill>
                  <a:latin typeface="+mj-lt"/>
                </a:rPr>
                <a:t>Large secure warehouse </a:t>
              </a:r>
              <a:br>
                <a:rPr lang="en-CA">
                  <a:solidFill>
                    <a:schemeClr val="bg1"/>
                  </a:solidFill>
                  <a:latin typeface="+mj-lt"/>
                </a:rPr>
              </a:br>
              <a:r>
                <a:rPr lang="en-CA">
                  <a:solidFill>
                    <a:schemeClr val="bg1"/>
                  </a:solidFill>
                  <a:latin typeface="+mj-lt"/>
                </a:rPr>
                <a:t>facility</a:t>
              </a:r>
            </a:p>
          </p:txBody>
        </p:sp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A37DFDAE-9D1E-1E2B-B578-F03376EC0E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647305" y="4665840"/>
              <a:ext cx="354929" cy="354929"/>
            </a:xfrm>
            <a:prstGeom prst="rect">
              <a:avLst/>
            </a:prstGeom>
          </p:spPr>
        </p:pic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73F7C8C3-03A5-A51D-6173-1B760CE76513}"/>
              </a:ext>
            </a:extLst>
          </p:cNvPr>
          <p:cNvCxnSpPr>
            <a:cxnSpLocks/>
          </p:cNvCxnSpPr>
          <p:nvPr/>
        </p:nvCxnSpPr>
        <p:spPr>
          <a:xfrm flipH="1">
            <a:off x="9414877" y="4783857"/>
            <a:ext cx="2405648" cy="0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4DDA86B-B6D5-0213-A7CE-BD7959BF9054}"/>
              </a:ext>
            </a:extLst>
          </p:cNvPr>
          <p:cNvCxnSpPr>
            <a:cxnSpLocks/>
          </p:cNvCxnSpPr>
          <p:nvPr/>
        </p:nvCxnSpPr>
        <p:spPr>
          <a:xfrm flipH="1">
            <a:off x="9414877" y="4019246"/>
            <a:ext cx="2405648" cy="0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88A1232D-4738-8B61-1D55-142398686DA6}"/>
              </a:ext>
            </a:extLst>
          </p:cNvPr>
          <p:cNvCxnSpPr>
            <a:cxnSpLocks/>
          </p:cNvCxnSpPr>
          <p:nvPr/>
        </p:nvCxnSpPr>
        <p:spPr>
          <a:xfrm flipH="1">
            <a:off x="9414877" y="3254632"/>
            <a:ext cx="2405648" cy="0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BEE2EF1-1FC7-9F0B-664C-D3631551FF0E}"/>
              </a:ext>
            </a:extLst>
          </p:cNvPr>
          <p:cNvCxnSpPr>
            <a:cxnSpLocks/>
          </p:cNvCxnSpPr>
          <p:nvPr/>
        </p:nvCxnSpPr>
        <p:spPr>
          <a:xfrm flipH="1">
            <a:off x="9414877" y="2490018"/>
            <a:ext cx="2405648" cy="0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6546E31-CAA8-4555-021A-01D2B9C11CCA}"/>
              </a:ext>
            </a:extLst>
          </p:cNvPr>
          <p:cNvCxnSpPr>
            <a:cxnSpLocks/>
          </p:cNvCxnSpPr>
          <p:nvPr/>
        </p:nvCxnSpPr>
        <p:spPr>
          <a:xfrm flipH="1">
            <a:off x="9414877" y="1725404"/>
            <a:ext cx="2405648" cy="0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6E39BA08-87C1-EAF7-80E9-1C94F8BDF9CE}"/>
              </a:ext>
            </a:extLst>
          </p:cNvPr>
          <p:cNvSpPr/>
          <p:nvPr/>
        </p:nvSpPr>
        <p:spPr>
          <a:xfrm>
            <a:off x="371475" y="1021791"/>
            <a:ext cx="8137347" cy="981778"/>
          </a:xfrm>
          <a:prstGeom prst="rect">
            <a:avLst/>
          </a:prstGeom>
          <a:ln w="31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90766D-0C20-5D66-8E2C-082DEFEB29C8}"/>
              </a:ext>
            </a:extLst>
          </p:cNvPr>
          <p:cNvSpPr/>
          <p:nvPr/>
        </p:nvSpPr>
        <p:spPr>
          <a:xfrm>
            <a:off x="371475" y="2071091"/>
            <a:ext cx="8137347" cy="981778"/>
          </a:xfrm>
          <a:prstGeom prst="rect">
            <a:avLst/>
          </a:prstGeom>
          <a:ln w="31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63337A7-EA63-22DD-163E-4C271DF33194}"/>
              </a:ext>
            </a:extLst>
          </p:cNvPr>
          <p:cNvSpPr/>
          <p:nvPr/>
        </p:nvSpPr>
        <p:spPr>
          <a:xfrm>
            <a:off x="371475" y="3120391"/>
            <a:ext cx="8137347" cy="981778"/>
          </a:xfrm>
          <a:prstGeom prst="rect">
            <a:avLst/>
          </a:prstGeom>
          <a:ln w="31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DED4B77-B91F-9440-6727-2BF3265B7704}"/>
              </a:ext>
            </a:extLst>
          </p:cNvPr>
          <p:cNvSpPr/>
          <p:nvPr/>
        </p:nvSpPr>
        <p:spPr>
          <a:xfrm>
            <a:off x="371475" y="4169691"/>
            <a:ext cx="8137347" cy="981778"/>
          </a:xfrm>
          <a:prstGeom prst="rect">
            <a:avLst/>
          </a:prstGeom>
          <a:ln w="31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5443828-F09A-27E4-301A-E8490FD81AB8}"/>
              </a:ext>
            </a:extLst>
          </p:cNvPr>
          <p:cNvSpPr/>
          <p:nvPr/>
        </p:nvSpPr>
        <p:spPr>
          <a:xfrm>
            <a:off x="371475" y="5218990"/>
            <a:ext cx="8137347" cy="981778"/>
          </a:xfrm>
          <a:prstGeom prst="rect">
            <a:avLst/>
          </a:prstGeom>
          <a:ln w="31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42CFC93-5E02-DD66-299F-AB2DE641602B}"/>
              </a:ext>
            </a:extLst>
          </p:cNvPr>
          <p:cNvSpPr txBox="1"/>
          <p:nvPr/>
        </p:nvSpPr>
        <p:spPr>
          <a:xfrm>
            <a:off x="1822588" y="5327298"/>
            <a:ext cx="6022271" cy="7651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CA" sz="1300">
                <a:solidFill>
                  <a:schemeClr val="accent1"/>
                </a:solidFill>
                <a:latin typeface="+mj-lt"/>
              </a:rPr>
              <a:t>Deploy</a:t>
            </a:r>
          </a:p>
          <a:p>
            <a:pPr marL="0" indent="0">
              <a:buNone/>
            </a:pPr>
            <a:r>
              <a:rPr lang="en-CA" sz="1200"/>
              <a:t>Upon customer request, we can image and ship or pick, pack and ship </a:t>
            </a:r>
            <a:br>
              <a:rPr lang="en-CA" sz="1200"/>
            </a:br>
            <a:r>
              <a:rPr lang="en-CA" sz="1200"/>
              <a:t>based on customers PO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336D1FC-0A41-1AAB-713D-3EEC1819AAE9}"/>
              </a:ext>
            </a:extLst>
          </p:cNvPr>
          <p:cNvSpPr txBox="1"/>
          <p:nvPr/>
        </p:nvSpPr>
        <p:spPr>
          <a:xfrm>
            <a:off x="1822588" y="4384766"/>
            <a:ext cx="6022271" cy="5516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CA" sz="1300">
                <a:solidFill>
                  <a:schemeClr val="accent1"/>
                </a:solidFill>
                <a:latin typeface="+mj-lt"/>
              </a:rPr>
              <a:t>Report </a:t>
            </a:r>
          </a:p>
          <a:p>
            <a:pPr marL="0" indent="0">
              <a:buNone/>
            </a:pPr>
            <a:r>
              <a:rPr lang="en-CA" sz="1200"/>
              <a:t>Weekly report providing quantities, product description, and age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172B8A5-8B9F-8C32-484E-329B8D35B744}"/>
              </a:ext>
            </a:extLst>
          </p:cNvPr>
          <p:cNvSpPr txBox="1"/>
          <p:nvPr/>
        </p:nvSpPr>
        <p:spPr>
          <a:xfrm>
            <a:off x="1822588" y="3335466"/>
            <a:ext cx="6022271" cy="5516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CA" sz="1300">
                <a:solidFill>
                  <a:schemeClr val="accent1"/>
                </a:solidFill>
                <a:latin typeface="+mj-lt"/>
              </a:rPr>
              <a:t>Store </a:t>
            </a:r>
          </a:p>
          <a:p>
            <a:pPr marL="0" indent="0">
              <a:buNone/>
            </a:pPr>
            <a:r>
              <a:rPr lang="en-CA" sz="1200"/>
              <a:t>Warehouse the equipment for  up to 60 days without storage fee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AC8699E-0CB1-464B-5178-4BA52E4C4C8F}"/>
              </a:ext>
            </a:extLst>
          </p:cNvPr>
          <p:cNvSpPr txBox="1"/>
          <p:nvPr/>
        </p:nvSpPr>
        <p:spPr>
          <a:xfrm>
            <a:off x="1822588" y="2286165"/>
            <a:ext cx="6022271" cy="5516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indent="0">
              <a:buNone/>
            </a:pPr>
            <a:r>
              <a:rPr lang="en-CA" sz="1300">
                <a:solidFill>
                  <a:schemeClr val="accent1"/>
                </a:solidFill>
                <a:latin typeface="+mj-lt"/>
              </a:rPr>
              <a:t>Acquire </a:t>
            </a:r>
          </a:p>
          <a:p>
            <a:pPr marL="0" indent="0">
              <a:buNone/>
            </a:pPr>
            <a:r>
              <a:rPr lang="en-CA" sz="1200"/>
              <a:t>Procure from the preferred vendor on the customers behalf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00C2E8D-3732-8C05-BD8F-DAC54DF742E4}"/>
              </a:ext>
            </a:extLst>
          </p:cNvPr>
          <p:cNvSpPr txBox="1"/>
          <p:nvPr/>
        </p:nvSpPr>
        <p:spPr>
          <a:xfrm>
            <a:off x="1822588" y="1130099"/>
            <a:ext cx="6022271" cy="7651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indent="0">
              <a:buNone/>
            </a:pPr>
            <a:r>
              <a:rPr lang="en-CA" sz="1300">
                <a:solidFill>
                  <a:schemeClr val="accent1"/>
                </a:solidFill>
                <a:latin typeface="+mj-lt"/>
              </a:rPr>
              <a:t>Plan</a:t>
            </a:r>
          </a:p>
          <a:p>
            <a:pPr marL="0" indent="0">
              <a:buNone/>
            </a:pPr>
            <a:r>
              <a:rPr lang="en-CA" sz="1200"/>
              <a:t>Hold regular meetings to understand customers hardware needs in the next </a:t>
            </a:r>
            <a:br>
              <a:rPr lang="en-CA" sz="1200"/>
            </a:br>
            <a:r>
              <a:rPr lang="en-CA" sz="1200"/>
              <a:t>30 / 60 / 90 days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BFD3C573-4341-20DA-0654-90314BED32BA}"/>
              </a:ext>
            </a:extLst>
          </p:cNvPr>
          <p:cNvCxnSpPr>
            <a:cxnSpLocks/>
          </p:cNvCxnSpPr>
          <p:nvPr/>
        </p:nvCxnSpPr>
        <p:spPr>
          <a:xfrm>
            <a:off x="1592658" y="1151439"/>
            <a:ext cx="0" cy="722481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9289353B-1845-A605-00C4-762943B890AD}"/>
              </a:ext>
            </a:extLst>
          </p:cNvPr>
          <p:cNvCxnSpPr>
            <a:cxnSpLocks/>
          </p:cNvCxnSpPr>
          <p:nvPr/>
        </p:nvCxnSpPr>
        <p:spPr>
          <a:xfrm>
            <a:off x="1592658" y="2200739"/>
            <a:ext cx="0" cy="722481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171285B4-FBE0-EC83-01B9-0C9D0365BB4E}"/>
              </a:ext>
            </a:extLst>
          </p:cNvPr>
          <p:cNvCxnSpPr>
            <a:cxnSpLocks/>
          </p:cNvCxnSpPr>
          <p:nvPr/>
        </p:nvCxnSpPr>
        <p:spPr>
          <a:xfrm>
            <a:off x="1592658" y="3250040"/>
            <a:ext cx="0" cy="722481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5BF42176-F528-A644-6FF2-AC0DD50D51F1}"/>
              </a:ext>
            </a:extLst>
          </p:cNvPr>
          <p:cNvCxnSpPr>
            <a:cxnSpLocks/>
          </p:cNvCxnSpPr>
          <p:nvPr/>
        </p:nvCxnSpPr>
        <p:spPr>
          <a:xfrm>
            <a:off x="1592658" y="4299339"/>
            <a:ext cx="0" cy="722481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09B310B4-A21B-BECD-9BDF-982DB7F5E89A}"/>
              </a:ext>
            </a:extLst>
          </p:cNvPr>
          <p:cNvCxnSpPr>
            <a:cxnSpLocks/>
          </p:cNvCxnSpPr>
          <p:nvPr/>
        </p:nvCxnSpPr>
        <p:spPr>
          <a:xfrm>
            <a:off x="1592658" y="5348638"/>
            <a:ext cx="0" cy="722481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Graphic 73">
            <a:extLst>
              <a:ext uri="{FF2B5EF4-FFF2-40B4-BE49-F238E27FC236}">
                <a16:creationId xmlns:a16="http://schemas.microsoft.com/office/drawing/2014/main" id="{EC10FCEA-49CB-FA63-AC30-30DFE4E5735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01837" y="4382269"/>
            <a:ext cx="543357" cy="543357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42B2CCF3-A98D-BB64-C609-8A57E01C0EE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01837" y="5449351"/>
            <a:ext cx="543357" cy="543357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37D8AA54-C2E1-A940-B75D-329723987F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14423" y="3352188"/>
            <a:ext cx="518185" cy="518185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19AEF8F9-63C9-21CC-3132-D839EA2FE09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701837" y="1274455"/>
            <a:ext cx="543357" cy="543357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A5BFB263-FEB8-89F7-419E-674723223D7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01837" y="2290301"/>
            <a:ext cx="543357" cy="543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53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5" descr="A person smiling at a computer&#10;&#10;Description automatically generated">
            <a:extLst>
              <a:ext uri="{FF2B5EF4-FFF2-40B4-BE49-F238E27FC236}">
                <a16:creationId xmlns:a16="http://schemas.microsoft.com/office/drawing/2014/main" id="{1B28FCBD-5AD7-B0FA-9B71-4EB87F5FB99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608965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A0DF3F6-D756-AA84-32C4-8001F0D483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7900" y="960064"/>
            <a:ext cx="4310246" cy="128027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9C9BD24-58AE-10D8-46C7-AB013521C23E}"/>
              </a:ext>
            </a:extLst>
          </p:cNvPr>
          <p:cNvSpPr txBox="1"/>
          <p:nvPr/>
        </p:nvSpPr>
        <p:spPr>
          <a:xfrm>
            <a:off x="6198486" y="2394747"/>
            <a:ext cx="609777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5100"/>
              </a:buClr>
              <a:buSzTx/>
              <a:buFont typeface="DM Sans" pitchFamily="2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DM Sans"/>
                <a:ea typeface="+mn-ea"/>
                <a:cs typeface="+mn-cs"/>
              </a:rPr>
              <a:t>Our value-add warehousing service is designed for Softchoice customers who need a reliable solution for storing and managing their inventory. If our customer has a specific business requirement for warehousing and need to place bulk purchase orders, this service is just what </a:t>
            </a:r>
            <a:r>
              <a:rPr lang="en-US" sz="1600">
                <a:solidFill>
                  <a:srgbClr val="111111"/>
                </a:solidFill>
                <a:latin typeface="DM Sans"/>
              </a:rPr>
              <a:t>they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  <a:latin typeface="DM Sans"/>
                <a:ea typeface="+mn-ea"/>
                <a:cs typeface="+mn-cs"/>
              </a:rPr>
              <a:t> need.</a:t>
            </a:r>
          </a:p>
        </p:txBody>
      </p:sp>
      <p:pic>
        <p:nvPicPr>
          <p:cNvPr id="10" name="Picture Placeholder 6" descr="Telemedicine with four doctors">
            <a:extLst>
              <a:ext uri="{FF2B5EF4-FFF2-40B4-BE49-F238E27FC236}">
                <a16:creationId xmlns:a16="http://schemas.microsoft.com/office/drawing/2014/main" id="{842BA6CE-39AD-D65D-3EC3-0F07993A094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0401" r="20401"/>
          <a:stretch>
            <a:fillRect/>
          </a:stretch>
        </p:blipFill>
        <p:spPr>
          <a:xfrm>
            <a:off x="0" y="-3"/>
            <a:ext cx="608965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26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2564833C-0A2C-F55C-8400-A50CB2A34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/>
              <a:t>Bill and Hold Warehousing</a:t>
            </a:r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027942F-62AB-1E42-8B71-E68B9B8915E0}"/>
              </a:ext>
            </a:extLst>
          </p:cNvPr>
          <p:cNvSpPr txBox="1">
            <a:spLocks/>
          </p:cNvSpPr>
          <p:nvPr/>
        </p:nvSpPr>
        <p:spPr>
          <a:xfrm>
            <a:off x="9290142" y="296315"/>
            <a:ext cx="1183583" cy="292609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227013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2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687387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2000">
                <a:solidFill>
                  <a:schemeClr val="bg1"/>
                </a:solidFill>
                <a:latin typeface="DM Sans" pitchFamily="2" charset="77"/>
              </a:rPr>
              <a:t>Benefits</a:t>
            </a:r>
            <a:endParaRPr lang="en-CA">
              <a:solidFill>
                <a:schemeClr val="bg1"/>
              </a:solidFill>
              <a:latin typeface="DM Sans" pitchFamily="2" charset="77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AD4481C-6FE9-934B-1EFA-08B2B03906A5}"/>
              </a:ext>
            </a:extLst>
          </p:cNvPr>
          <p:cNvSpPr txBox="1">
            <a:spLocks/>
          </p:cNvSpPr>
          <p:nvPr/>
        </p:nvSpPr>
        <p:spPr>
          <a:xfrm>
            <a:off x="9290137" y="657051"/>
            <a:ext cx="2530904" cy="689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227013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2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687387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u="sng">
                <a:solidFill>
                  <a:schemeClr val="bg1"/>
                </a:solidFill>
                <a:latin typeface="+mj-lt"/>
              </a:rPr>
              <a:t>Convenience</a:t>
            </a:r>
            <a:r>
              <a:rPr lang="en-CA">
                <a:solidFill>
                  <a:schemeClr val="bg1"/>
                </a:solidFill>
                <a:latin typeface="+mj-lt"/>
              </a:rPr>
              <a:t>: Simplifies your inventory management and logistics.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98F538A-A3B4-9AB1-2552-B5EAE85EFFA8}"/>
              </a:ext>
            </a:extLst>
          </p:cNvPr>
          <p:cNvSpPr txBox="1">
            <a:spLocks/>
          </p:cNvSpPr>
          <p:nvPr/>
        </p:nvSpPr>
        <p:spPr>
          <a:xfrm>
            <a:off x="9290143" y="1366378"/>
            <a:ext cx="2901857" cy="3470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227013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2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687387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i="0" u="sng">
                <a:solidFill>
                  <a:schemeClr val="bg1"/>
                </a:solidFill>
                <a:effectLst/>
              </a:rPr>
              <a:t>Reliability</a:t>
            </a:r>
            <a:r>
              <a:rPr lang="en-US" sz="1200" b="1" i="0">
                <a:solidFill>
                  <a:schemeClr val="bg1"/>
                </a:solidFill>
                <a:effectLst/>
              </a:rPr>
              <a:t>: </a:t>
            </a:r>
            <a:r>
              <a:rPr lang="en-US" sz="1200" b="0" i="0">
                <a:solidFill>
                  <a:schemeClr val="bg1"/>
                </a:solidFill>
                <a:effectLst/>
              </a:rPr>
              <a:t>Ensures your products are stored safely and delivered on time.</a:t>
            </a:r>
          </a:p>
          <a:p>
            <a:r>
              <a:rPr lang="en-US" sz="1200" b="1" i="0">
                <a:solidFill>
                  <a:schemeClr val="bg1"/>
                </a:solidFill>
                <a:effectLst/>
              </a:rPr>
              <a:t> </a:t>
            </a:r>
            <a:endParaRPr lang="en-CA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DADFF23-1371-3B24-1C00-7A35FE3BA19E}"/>
              </a:ext>
            </a:extLst>
          </p:cNvPr>
          <p:cNvGrpSpPr/>
          <p:nvPr/>
        </p:nvGrpSpPr>
        <p:grpSpPr>
          <a:xfrm>
            <a:off x="9444153" y="3827450"/>
            <a:ext cx="2399298" cy="354932"/>
            <a:chOff x="8647302" y="4257906"/>
            <a:chExt cx="2399298" cy="354932"/>
          </a:xfrm>
        </p:grpSpPr>
        <p:sp>
          <p:nvSpPr>
            <p:cNvPr id="35" name="Text Placeholder 2">
              <a:extLst>
                <a:ext uri="{FF2B5EF4-FFF2-40B4-BE49-F238E27FC236}">
                  <a16:creationId xmlns:a16="http://schemas.microsoft.com/office/drawing/2014/main" id="{A2253E06-FFC4-3EAE-C785-308CC214C084}"/>
                </a:ext>
              </a:extLst>
            </p:cNvPr>
            <p:cNvSpPr txBox="1">
              <a:spLocks/>
            </p:cNvSpPr>
            <p:nvPr/>
          </p:nvSpPr>
          <p:spPr>
            <a:xfrm>
              <a:off x="9253729" y="4257906"/>
              <a:ext cx="1792871" cy="31637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1pPr>
              <a:lvl2pPr marL="22701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2pPr>
              <a:lvl3pPr marL="46196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0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3pPr>
              <a:lvl4pPr marL="687387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9144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6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CA">
                  <a:solidFill>
                    <a:schemeClr val="bg1"/>
                  </a:solidFill>
                  <a:latin typeface="+mj-lt"/>
                </a:rPr>
                <a:t>Consistent delivery </a:t>
              </a:r>
              <a:br>
                <a:rPr lang="en-CA">
                  <a:solidFill>
                    <a:schemeClr val="bg1"/>
                  </a:solidFill>
                  <a:latin typeface="+mj-lt"/>
                </a:rPr>
              </a:br>
              <a:r>
                <a:rPr lang="en-CA">
                  <a:solidFill>
                    <a:schemeClr val="bg1"/>
                  </a:solidFill>
                  <a:latin typeface="+mj-lt"/>
                </a:rPr>
                <a:t>timelines</a:t>
              </a: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9B4D690C-C06A-D7FB-0125-0A474D6C5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47302" y="4257906"/>
              <a:ext cx="354932" cy="354932"/>
            </a:xfrm>
            <a:prstGeom prst="rect">
              <a:avLst/>
            </a:prstGeom>
          </p:spPr>
        </p:pic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C1373A6-E1A7-6701-30BC-B794850E913B}"/>
              </a:ext>
            </a:extLst>
          </p:cNvPr>
          <p:cNvCxnSpPr>
            <a:cxnSpLocks/>
          </p:cNvCxnSpPr>
          <p:nvPr/>
        </p:nvCxnSpPr>
        <p:spPr>
          <a:xfrm flipH="1">
            <a:off x="9421227" y="5928046"/>
            <a:ext cx="2438801" cy="0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1080264-4B67-9729-84E8-F7246B78912C}"/>
              </a:ext>
            </a:extLst>
          </p:cNvPr>
          <p:cNvGrpSpPr/>
          <p:nvPr/>
        </p:nvGrpSpPr>
        <p:grpSpPr>
          <a:xfrm>
            <a:off x="9361776" y="5226579"/>
            <a:ext cx="2399295" cy="354929"/>
            <a:chOff x="8647305" y="4665840"/>
            <a:chExt cx="2399295" cy="354929"/>
          </a:xfrm>
        </p:grpSpPr>
        <p:sp>
          <p:nvSpPr>
            <p:cNvPr id="50" name="Text Placeholder 2">
              <a:extLst>
                <a:ext uri="{FF2B5EF4-FFF2-40B4-BE49-F238E27FC236}">
                  <a16:creationId xmlns:a16="http://schemas.microsoft.com/office/drawing/2014/main" id="{5306DC7D-C8A0-2343-A89F-68B8E503E1B6}"/>
                </a:ext>
              </a:extLst>
            </p:cNvPr>
            <p:cNvSpPr txBox="1">
              <a:spLocks/>
            </p:cNvSpPr>
            <p:nvPr/>
          </p:nvSpPr>
          <p:spPr>
            <a:xfrm>
              <a:off x="9253729" y="4665846"/>
              <a:ext cx="1792871" cy="35492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1pPr>
              <a:lvl2pPr marL="22701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2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2pPr>
              <a:lvl3pPr marL="461963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20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3pPr>
              <a:lvl4pPr marL="687387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9144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DM Sans" pitchFamily="2" charset="0"/>
                <a:buNone/>
                <a:defRPr sz="16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DM Sans" pitchFamily="2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CA">
                  <a:solidFill>
                    <a:schemeClr val="bg1"/>
                  </a:solidFill>
                  <a:latin typeface="+mj-lt"/>
                </a:rPr>
                <a:t>Large secure warehouse </a:t>
              </a:r>
              <a:br>
                <a:rPr lang="en-CA">
                  <a:solidFill>
                    <a:schemeClr val="bg1"/>
                  </a:solidFill>
                  <a:latin typeface="+mj-lt"/>
                </a:rPr>
              </a:br>
              <a:r>
                <a:rPr lang="en-CA">
                  <a:solidFill>
                    <a:schemeClr val="bg1"/>
                  </a:solidFill>
                  <a:latin typeface="+mj-lt"/>
                </a:rPr>
                <a:t>facility</a:t>
              </a:r>
            </a:p>
          </p:txBody>
        </p:sp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A37DFDAE-9D1E-1E2B-B578-F03376EC0E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647305" y="4665840"/>
              <a:ext cx="354929" cy="354929"/>
            </a:xfrm>
            <a:prstGeom prst="rect">
              <a:avLst/>
            </a:prstGeom>
          </p:spPr>
        </p:pic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4DDA86B-B6D5-0213-A7CE-BD7959BF9054}"/>
              </a:ext>
            </a:extLst>
          </p:cNvPr>
          <p:cNvCxnSpPr>
            <a:cxnSpLocks/>
          </p:cNvCxnSpPr>
          <p:nvPr/>
        </p:nvCxnSpPr>
        <p:spPr>
          <a:xfrm flipH="1">
            <a:off x="9444153" y="4751014"/>
            <a:ext cx="2405648" cy="0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88A1232D-4738-8B61-1D55-142398686DA6}"/>
              </a:ext>
            </a:extLst>
          </p:cNvPr>
          <p:cNvCxnSpPr>
            <a:cxnSpLocks/>
          </p:cNvCxnSpPr>
          <p:nvPr/>
        </p:nvCxnSpPr>
        <p:spPr>
          <a:xfrm flipH="1">
            <a:off x="9437803" y="3525937"/>
            <a:ext cx="2405648" cy="0"/>
          </a:xfrm>
          <a:prstGeom prst="line">
            <a:avLst/>
          </a:prstGeom>
          <a:ln w="317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id="{A5443828-F09A-27E4-301A-E8490FD81AB8}"/>
              </a:ext>
            </a:extLst>
          </p:cNvPr>
          <p:cNvSpPr/>
          <p:nvPr/>
        </p:nvSpPr>
        <p:spPr>
          <a:xfrm>
            <a:off x="371476" y="5218990"/>
            <a:ext cx="7815094" cy="1262716"/>
          </a:xfrm>
          <a:prstGeom prst="rect">
            <a:avLst/>
          </a:prstGeom>
          <a:ln w="31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42CFC93-5E02-DD66-299F-AB2DE641602B}"/>
              </a:ext>
            </a:extLst>
          </p:cNvPr>
          <p:cNvSpPr txBox="1"/>
          <p:nvPr/>
        </p:nvSpPr>
        <p:spPr>
          <a:xfrm>
            <a:off x="355310" y="5296769"/>
            <a:ext cx="7413930" cy="11849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CA" sz="1300">
                <a:solidFill>
                  <a:schemeClr val="accent1"/>
                </a:solidFill>
                <a:latin typeface="+mj-lt"/>
              </a:rPr>
              <a:t>Important!</a:t>
            </a:r>
          </a:p>
          <a:p>
            <a:pPr marL="0" indent="0">
              <a:buNone/>
            </a:pPr>
            <a:r>
              <a:rPr lang="en-CA" sz="1200" b="1"/>
              <a:t>Bill and Hold Agreements are invoiced  once the inventory is physically available in the warehouse, and you take ownership.</a:t>
            </a:r>
          </a:p>
          <a:p>
            <a:pPr marL="0" indent="0">
              <a:buNone/>
            </a:pPr>
            <a:r>
              <a:rPr lang="en-CA" sz="1200" b="1"/>
              <a:t>Storage fees are based on the quantity and duration warehousing associated with holding the inventory.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336D1FC-0A41-1AAB-713D-3EEC1819AAE9}"/>
              </a:ext>
            </a:extLst>
          </p:cNvPr>
          <p:cNvSpPr txBox="1"/>
          <p:nvPr/>
        </p:nvSpPr>
        <p:spPr>
          <a:xfrm>
            <a:off x="370958" y="3383678"/>
            <a:ext cx="738263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CA" sz="1300">
                <a:solidFill>
                  <a:schemeClr val="accent1"/>
                </a:solidFill>
                <a:latin typeface="+mj-lt"/>
              </a:rPr>
              <a:t>Avoid lead time delays:</a:t>
            </a:r>
          </a:p>
          <a:p>
            <a:pPr marL="0" indent="0">
              <a:buNone/>
            </a:pPr>
            <a:r>
              <a:rPr lang="en-CA" sz="1200"/>
              <a:t>Having inventory readily available, you can respond quickly to order requirements, reducing the risk of delays due to productions or shipping timelines.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172B8A5-8B9F-8C32-484E-329B8D35B744}"/>
              </a:ext>
            </a:extLst>
          </p:cNvPr>
          <p:cNvSpPr txBox="1"/>
          <p:nvPr/>
        </p:nvSpPr>
        <p:spPr>
          <a:xfrm>
            <a:off x="370959" y="2540966"/>
            <a:ext cx="74739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CA" sz="1300">
                <a:solidFill>
                  <a:schemeClr val="accent1"/>
                </a:solidFill>
                <a:latin typeface="+mj-lt"/>
              </a:rPr>
              <a:t>Bulk purchase for future requirements:</a:t>
            </a:r>
          </a:p>
          <a:p>
            <a:pPr marL="0" indent="0">
              <a:buNone/>
            </a:pPr>
            <a:r>
              <a:rPr lang="en-CA" sz="1200"/>
              <a:t>If you want to take advantage of bulk purchase discounts or ensure they have enough inventory for future business demands without immediately needing storage space.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AC8699E-0CB1-464B-5178-4BA52E4C4C8F}"/>
              </a:ext>
            </a:extLst>
          </p:cNvPr>
          <p:cNvSpPr txBox="1"/>
          <p:nvPr/>
        </p:nvSpPr>
        <p:spPr>
          <a:xfrm>
            <a:off x="370959" y="1632436"/>
            <a:ext cx="74739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CA" sz="1300">
                <a:solidFill>
                  <a:schemeClr val="accent1"/>
                </a:solidFill>
                <a:latin typeface="+mj-lt"/>
              </a:rPr>
              <a:t>Lack of physical space:</a:t>
            </a:r>
          </a:p>
          <a:p>
            <a:pPr marL="0" indent="0">
              <a:buNone/>
            </a:pPr>
            <a:r>
              <a:rPr lang="en-CA" sz="1200"/>
              <a:t>When you do not have enough storage space, a Bill and Hold Agreement allows you to purchase the goods and have Softchoice store them until needed to deploy.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00C2E8D-3732-8C05-BD8F-DAC54DF742E4}"/>
              </a:ext>
            </a:extLst>
          </p:cNvPr>
          <p:cNvSpPr txBox="1"/>
          <p:nvPr/>
        </p:nvSpPr>
        <p:spPr>
          <a:xfrm>
            <a:off x="325326" y="1095459"/>
            <a:ext cx="74739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CA" sz="1600">
                <a:solidFill>
                  <a:schemeClr val="accent1"/>
                </a:solidFill>
                <a:latin typeface="+mj-lt"/>
              </a:rPr>
              <a:t>Reasons to enter a Bill and Hold Agreemen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BE49F42-2F8A-0A05-B0FC-39545F87BE8A}"/>
              </a:ext>
            </a:extLst>
          </p:cNvPr>
          <p:cNvSpPr txBox="1">
            <a:spLocks/>
          </p:cNvSpPr>
          <p:nvPr/>
        </p:nvSpPr>
        <p:spPr>
          <a:xfrm>
            <a:off x="9290143" y="2003569"/>
            <a:ext cx="2901857" cy="3470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227013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2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687387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900"/>
              </a:spcBef>
            </a:pPr>
            <a:r>
              <a:rPr lang="en-US" sz="1200" i="0" u="sng">
                <a:solidFill>
                  <a:schemeClr val="bg1"/>
                </a:solidFill>
                <a:effectLst/>
              </a:rPr>
              <a:t>Scalability</a:t>
            </a:r>
            <a:r>
              <a:rPr lang="en-US" sz="1200" b="1" i="0">
                <a:solidFill>
                  <a:schemeClr val="bg1"/>
                </a:solidFill>
                <a:effectLst/>
              </a:rPr>
              <a:t>:</a:t>
            </a:r>
            <a:r>
              <a:rPr lang="en-US" sz="1200" b="0" i="0">
                <a:solidFill>
                  <a:schemeClr val="bg1"/>
                </a:solidFill>
                <a:effectLst/>
              </a:rPr>
              <a:t> Adapts to your business needs, whether you have a small or large inventory.</a:t>
            </a:r>
          </a:p>
          <a:p>
            <a:r>
              <a:rPr lang="en-US" sz="1200" b="1" i="0">
                <a:solidFill>
                  <a:schemeClr val="bg1"/>
                </a:solidFill>
                <a:effectLst/>
              </a:rPr>
              <a:t> </a:t>
            </a:r>
            <a:endParaRPr lang="en-CA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05E4128-2E70-E4E2-77A4-73BA1AC74FB6}"/>
              </a:ext>
            </a:extLst>
          </p:cNvPr>
          <p:cNvSpPr txBox="1">
            <a:spLocks/>
          </p:cNvSpPr>
          <p:nvPr/>
        </p:nvSpPr>
        <p:spPr>
          <a:xfrm>
            <a:off x="9290139" y="2737667"/>
            <a:ext cx="2901857" cy="3470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227013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2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687387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DM Sans" pitchFamily="2" charset="0"/>
              <a:buNone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DM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900"/>
              </a:spcBef>
            </a:pPr>
            <a:r>
              <a:rPr lang="en-US" u="sng">
                <a:solidFill>
                  <a:schemeClr val="bg1"/>
                </a:solidFill>
              </a:rPr>
              <a:t>Secured Budget</a:t>
            </a:r>
            <a:r>
              <a:rPr lang="en-US" sz="1200" i="0">
                <a:solidFill>
                  <a:schemeClr val="bg1"/>
                </a:solidFill>
                <a:effectLst/>
              </a:rPr>
              <a:t>: </a:t>
            </a:r>
            <a:r>
              <a:rPr lang="en-US">
                <a:solidFill>
                  <a:schemeClr val="bg1"/>
                </a:solidFill>
              </a:rPr>
              <a:t>Avoid the risk of fluctuating costs and lock in pricing to help with financial planning.</a:t>
            </a:r>
            <a:endParaRPr lang="en-US" sz="1200" b="0" i="0">
              <a:solidFill>
                <a:schemeClr val="bg1"/>
              </a:solidFill>
              <a:effectLst/>
            </a:endParaRPr>
          </a:p>
          <a:p>
            <a:r>
              <a:rPr lang="en-US" sz="1200" b="1" i="0">
                <a:solidFill>
                  <a:schemeClr val="bg1"/>
                </a:solidFill>
                <a:effectLst/>
              </a:rPr>
              <a:t> </a:t>
            </a:r>
            <a:endParaRPr lang="en-CA">
              <a:solidFill>
                <a:schemeClr val="bg1"/>
              </a:solidFill>
              <a:latin typeface="+mj-lt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2DF4B1C-6802-D7AF-8EEC-94B26FCB6DD8}"/>
              </a:ext>
            </a:extLst>
          </p:cNvPr>
          <p:cNvSpPr txBox="1"/>
          <p:nvPr/>
        </p:nvSpPr>
        <p:spPr>
          <a:xfrm>
            <a:off x="370959" y="4199385"/>
            <a:ext cx="738263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CA" sz="1300">
                <a:solidFill>
                  <a:schemeClr val="accent1"/>
                </a:solidFill>
                <a:latin typeface="+mj-lt"/>
              </a:rPr>
              <a:t>Secure constrained products:</a:t>
            </a:r>
          </a:p>
          <a:p>
            <a:pPr marL="0" indent="0">
              <a:buNone/>
            </a:pPr>
            <a:r>
              <a:rPr lang="en-CA" sz="1200"/>
              <a:t>Items that are in high demand or have limited availability, securing inventory ensures that your inventory requirements has the necessary products required for your business when needed. </a:t>
            </a:r>
          </a:p>
        </p:txBody>
      </p:sp>
    </p:spTree>
    <p:extLst>
      <p:ext uri="{BB962C8B-B14F-4D97-AF65-F5344CB8AC3E}">
        <p14:creationId xmlns:p14="http://schemas.microsoft.com/office/powerpoint/2010/main" val="24151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OFTCHOICE MASTER">
  <a:themeElements>
    <a:clrScheme name="SOFTCHOICE">
      <a:dk1>
        <a:sysClr val="windowText" lastClr="000000"/>
      </a:dk1>
      <a:lt1>
        <a:sysClr val="window" lastClr="FFFFFF"/>
      </a:lt1>
      <a:dk2>
        <a:srgbClr val="1C1463"/>
      </a:dk2>
      <a:lt2>
        <a:srgbClr val="F2F2F2"/>
      </a:lt2>
      <a:accent1>
        <a:srgbClr val="FF5100"/>
      </a:accent1>
      <a:accent2>
        <a:srgbClr val="7D00FF"/>
      </a:accent2>
      <a:accent3>
        <a:srgbClr val="40454D"/>
      </a:accent3>
      <a:accent4>
        <a:srgbClr val="CCA175"/>
      </a:accent4>
      <a:accent5>
        <a:srgbClr val="1C1463"/>
      </a:accent5>
      <a:accent6>
        <a:srgbClr val="B166FF"/>
      </a:accent6>
      <a:hlink>
        <a:srgbClr val="997958"/>
      </a:hlink>
      <a:folHlink>
        <a:srgbClr val="E0C7AC"/>
      </a:folHlink>
    </a:clrScheme>
    <a:fontScheme name="Softchoice">
      <a:majorFont>
        <a:latin typeface="DM Sans Medium"/>
        <a:ea typeface=""/>
        <a:cs typeface=""/>
      </a:majorFont>
      <a:minorFont>
        <a:latin typeface="DM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oftchoice_Presentation_EN" id="{24DB12EC-23B7-9648-9C99-0D0C0BBE5F7F}" vid="{F01E6AED-B44E-0949-AE0E-896A4163F7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30A7F82BA0FA4AB3B72681E61466A0" ma:contentTypeVersion="8" ma:contentTypeDescription="Create a new document." ma:contentTypeScope="" ma:versionID="0ead23ef6e93a8de71e7f2092d5fd685">
  <xsd:schema xmlns:xsd="http://www.w3.org/2001/XMLSchema" xmlns:xs="http://www.w3.org/2001/XMLSchema" xmlns:p="http://schemas.microsoft.com/office/2006/metadata/properties" xmlns:ns2="8a1b0a51-7446-4e52-9bbc-8cd952cada46" targetNamespace="http://schemas.microsoft.com/office/2006/metadata/properties" ma:root="true" ma:fieldsID="882f6ce238863a22aba030947f076749" ns2:_="">
    <xsd:import namespace="8a1b0a51-7446-4e52-9bbc-8cd952cada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1b0a51-7446-4e52-9bbc-8cd952cada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7C2FA0F-681C-49D6-A5B1-FEEABDF0F9F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800EC40-0A47-4F5D-9384-F4FC35D2FC3F}">
  <ds:schemaRefs>
    <ds:schemaRef ds:uri="8a1b0a51-7446-4e52-9bbc-8cd952cada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54D7694-AFA4-4126-A4DE-E36FD0BD21D3}">
  <ds:schemaRefs>
    <ds:schemaRef ds:uri="8a1b0a51-7446-4e52-9bbc-8cd952cada4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9cfbedc9-c7e4-46e2-be3e-d7fa81d0798a}" enabled="0" method="" siteId="{9cfbedc9-c7e4-46e2-be3e-d7fa81d0798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oftchoice_Presentation_EN</Template>
  <TotalTime>0</TotalTime>
  <Words>466</Words>
  <Application>Microsoft Office PowerPoint</Application>
  <PresentationFormat>Widescreen</PresentationFormat>
  <Paragraphs>47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DM Sans</vt:lpstr>
      <vt:lpstr>DM Serif Display</vt:lpstr>
      <vt:lpstr>DM Serif Text</vt:lpstr>
      <vt:lpstr>Arial</vt:lpstr>
      <vt:lpstr>1_SOFTCHOICE MASTER</vt:lpstr>
      <vt:lpstr>think-cell Slide</vt:lpstr>
      <vt:lpstr>PowerPoint Presentation</vt:lpstr>
      <vt:lpstr>Forecasting</vt:lpstr>
      <vt:lpstr>PowerPoint Presentation</vt:lpstr>
      <vt:lpstr>Bill and Hold Warehous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eather McCagherty</dc:creator>
  <cp:lastModifiedBy>Rob Porretta</cp:lastModifiedBy>
  <cp:revision>5</cp:revision>
  <dcterms:created xsi:type="dcterms:W3CDTF">2025-03-13T19:49:31Z</dcterms:created>
  <dcterms:modified xsi:type="dcterms:W3CDTF">2025-06-04T14:4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2B30A7F82BA0FA4AB3B72681E61466A0</vt:lpwstr>
  </property>
</Properties>
</file>